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24" r:id="rId2"/>
  </p:sldMasterIdLst>
  <p:notesMasterIdLst>
    <p:notesMasterId r:id="rId19"/>
  </p:notesMasterIdLst>
  <p:handoutMasterIdLst>
    <p:handoutMasterId r:id="rId20"/>
  </p:handoutMasterIdLst>
  <p:sldIdLst>
    <p:sldId id="292" r:id="rId3"/>
    <p:sldId id="293" r:id="rId4"/>
    <p:sldId id="259" r:id="rId5"/>
    <p:sldId id="271" r:id="rId6"/>
    <p:sldId id="280" r:id="rId7"/>
    <p:sldId id="281" r:id="rId8"/>
    <p:sldId id="282" r:id="rId9"/>
    <p:sldId id="283" r:id="rId10"/>
    <p:sldId id="289" r:id="rId11"/>
    <p:sldId id="285" r:id="rId12"/>
    <p:sldId id="286" r:id="rId13"/>
    <p:sldId id="287" r:id="rId14"/>
    <p:sldId id="290" r:id="rId15"/>
    <p:sldId id="284" r:id="rId16"/>
    <p:sldId id="270" r:id="rId17"/>
    <p:sldId id="295" r:id="rId18"/>
  </p:sldIdLst>
  <p:sldSz cx="9144000" cy="6858000" type="screen4x3"/>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nto, Alicia (LATCO - Bogota)" initials="PA(-B" lastIdx="2" clrIdx="0">
    <p:extLst>
      <p:ext uri="{19B8F6BF-5375-455C-9EA6-DF929625EA0E}">
        <p15:presenceInfo xmlns:p15="http://schemas.microsoft.com/office/powerpoint/2012/main" userId="S-1-5-21-57989841-1897051121-725345543-380018" providerId="AD"/>
      </p:ext>
    </p:extLst>
  </p:cmAuthor>
  <p:cmAuthor id="2" name="Mario Alcides Lozano Reyes" initials="MALR" lastIdx="4" clrIdx="1">
    <p:extLst>
      <p:ext uri="{19B8F6BF-5375-455C-9EA6-DF929625EA0E}">
        <p15:presenceInfo xmlns:p15="http://schemas.microsoft.com/office/powerpoint/2012/main" userId="S-1-5-21-906791275-476758700-3757903968-4083" providerId="AD"/>
      </p:ext>
    </p:extLst>
  </p:cmAuthor>
  <p:cmAuthor id="3" name="Doris Patricia Reinales mendoza" initials="DPRm" lastIdx="30" clrIdx="2">
    <p:extLst>
      <p:ext uri="{19B8F6BF-5375-455C-9EA6-DF929625EA0E}">
        <p15:presenceInfo xmlns:p15="http://schemas.microsoft.com/office/powerpoint/2012/main" userId="S-1-5-21-906791275-476758700-3757903968-3750" providerId="AD"/>
      </p:ext>
    </p:extLst>
  </p:cmAuthor>
  <p:cmAuthor id="4" name="Vargas, Maried (LATCO - Bogota)" initials="VM(-B" lastIdx="14" clrIdx="3">
    <p:extLst>
      <p:ext uri="{19B8F6BF-5375-455C-9EA6-DF929625EA0E}">
        <p15:presenceInfo xmlns:p15="http://schemas.microsoft.com/office/powerpoint/2012/main" userId="S-1-5-21-57989841-1897051121-725345543-5074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26262"/>
    <a:srgbClr val="3A3A3A"/>
    <a:srgbClr val="2A2A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1264"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7" d="100"/>
          <a:sy n="57" d="100"/>
        </p:scale>
        <p:origin x="283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2C6601-1119-4E91-A21F-770988339CCA}" type="datetimeFigureOut">
              <a:rPr lang="en-US" smtClean="0"/>
              <a:t>3/28/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B2D7AA6-04AC-410E-93B1-A93557BD6015}" type="slidenum">
              <a:rPr lang="en-US" smtClean="0"/>
              <a:t>‹Nº›</a:t>
            </a:fld>
            <a:endParaRPr lang="en-US" dirty="0"/>
          </a:p>
        </p:txBody>
      </p:sp>
    </p:spTree>
    <p:extLst>
      <p:ext uri="{BB962C8B-B14F-4D97-AF65-F5344CB8AC3E}">
        <p14:creationId xmlns:p14="http://schemas.microsoft.com/office/powerpoint/2010/main" val="28945376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66CDF3-589B-4BC3-803B-5A4BD2A96949}" type="datetimeFigureOut">
              <a:rPr lang="en-US" smtClean="0"/>
              <a:t>3/28/2017</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5FCBC6-DF36-4E2C-9B98-DC6AE22E3947}" type="slidenum">
              <a:rPr lang="en-US" smtClean="0"/>
              <a:t>‹Nº›</a:t>
            </a:fld>
            <a:endParaRPr lang="en-US" dirty="0"/>
          </a:p>
        </p:txBody>
      </p:sp>
    </p:spTree>
    <p:extLst>
      <p:ext uri="{BB962C8B-B14F-4D97-AF65-F5344CB8AC3E}">
        <p14:creationId xmlns:p14="http://schemas.microsoft.com/office/powerpoint/2010/main" val="2816319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604063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376239"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3"/>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052962455"/>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9" y="317503"/>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846480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40" y="2052003"/>
            <a:ext cx="8391524"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376240" y="1700217"/>
            <a:ext cx="8391524"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7"/>
            <a:ext cx="8391525"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0835497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9"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7"/>
            <a:ext cx="8374064"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8377810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3"/>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40" y="1665290"/>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545875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rm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1" y="1665290"/>
            <a:ext cx="3979763" cy="4716461"/>
          </a:xfrm>
          <a:prstGeom prst="rect">
            <a:avLst/>
          </a:prstGeom>
        </p:spPr>
        <p:txBody>
          <a:bodyPr>
            <a:norm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914849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2"/>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8" y="6121017"/>
            <a:ext cx="8391525"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03922743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4755918"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7"/>
            <a:ext cx="8374064"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889307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3"/>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9" y="1665289"/>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7"/>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687323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rmAutofit/>
          </a:bodyPr>
          <a:lstStyle>
            <a:lvl1pPr>
              <a:tabLst>
                <a:tab pos="5029074" algn="r"/>
              </a:tabLst>
              <a:defRPr sz="22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0909975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8"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4"/>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3"/>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9"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401349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3"/>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955628459"/>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9998625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5"/>
            <a:ext cx="8391525"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7"/>
            <a:ext cx="2771775"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800" y="1700217"/>
            <a:ext cx="2762965"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4806" y="1700217"/>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9"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00474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107673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5"/>
            <a:ext cx="8391525" cy="698499"/>
          </a:xfrm>
        </p:spPr>
        <p:txBody>
          <a:bodyPr/>
          <a:lstStyle/>
          <a:p>
            <a:r>
              <a:rPr lang="en-US" noProof="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20" y="1863920"/>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6"/>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56254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7" name="Picture Placeholder 29"/>
          <p:cNvSpPr>
            <a:spLocks noGrp="1"/>
          </p:cNvSpPr>
          <p:nvPr>
            <p:ph type="pic" sz="quarter" idx="20" hasCustomPrompt="1"/>
          </p:nvPr>
        </p:nvSpPr>
        <p:spPr>
          <a:xfrm>
            <a:off x="7818464" y="1857896"/>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4684647"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378002"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p:nvSpPr>
        <p:spPr>
          <a:xfrm>
            <a:off x="4684646"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2" y="4255710"/>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6"/>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20" y="1863920"/>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3270878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5"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1"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8724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656172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9" y="1665289"/>
            <a:ext cx="4195763"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6027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083460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1025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3"/>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2365591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9" y="6018028"/>
            <a:ext cx="1739626" cy="363722"/>
          </a:xfrm>
        </p:spPr>
        <p:txBody>
          <a:bodyPr anchor="b" anchorCtr="0"/>
          <a:lstStyle>
            <a:lvl1pPr>
              <a:lnSpc>
                <a:spcPct val="100000"/>
              </a:lnSpc>
              <a:defRPr sz="951"/>
            </a:lvl1pPr>
          </a:lstStyle>
          <a:p>
            <a:pPr lvl="0"/>
            <a:r>
              <a:rPr lang="en-US"/>
              <a:t>Click to 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2907574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s-CO"/>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s-CO"/>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72091F26-5B73-42AC-ABA2-95F76F132352}" type="datetimeFigureOut">
              <a:rPr lang="es-CO" smtClean="0">
                <a:solidFill>
                  <a:prstClr val="black"/>
                </a:solidFill>
              </a:rPr>
              <a:pPr/>
              <a:t>28/03/2017</a:t>
            </a:fld>
            <a:endParaRPr lang="es-CO"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s-CO"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A19308A9-5F08-4048-A883-85DB9DFBC262}" type="slidenum">
              <a:rPr lang="es-CO" smtClean="0">
                <a:solidFill>
                  <a:prstClr val="black"/>
                </a:solidFill>
              </a:rPr>
              <a:pPr/>
              <a:t>‹Nº›</a:t>
            </a:fld>
            <a:endParaRPr lang="es-CO" dirty="0">
              <a:solidFill>
                <a:prstClr val="black"/>
              </a:solidFill>
            </a:endParaRPr>
          </a:p>
        </p:txBody>
      </p:sp>
    </p:spTree>
    <p:extLst>
      <p:ext uri="{BB962C8B-B14F-4D97-AF65-F5344CB8AC3E}">
        <p14:creationId xmlns:p14="http://schemas.microsoft.com/office/powerpoint/2010/main" val="24898834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376239"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3"/>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238843" y="198785"/>
            <a:ext cx="1192393" cy="304801"/>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3159773210"/>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3"/>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983720139"/>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3"/>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02664211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8"/>
            <a:ext cx="6958012" cy="4752975"/>
          </a:xfrm>
          <a:prstGeom prst="rect">
            <a:avLst/>
          </a:prstGeom>
        </p:spPr>
        <p:txBody>
          <a:bodyPr>
            <a:normAutofit/>
          </a:bodyPr>
          <a:lstStyle>
            <a:lvl1pPr>
              <a:spcBef>
                <a:spcPts val="3600"/>
              </a:spcBef>
              <a:defRPr sz="22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7952067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94191" y="1700217"/>
            <a:ext cx="2074691" cy="4656835"/>
          </a:xfrm>
        </p:spPr>
        <p:txBody>
          <a:bodyPr/>
          <a:lstStyle>
            <a:lvl1pPr>
              <a:spcBef>
                <a:spcPts val="0"/>
              </a:spcBef>
              <a:spcAft>
                <a:spcPts val="555"/>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2835278" y="1700212"/>
            <a:ext cx="5914537" cy="4657726"/>
          </a:xfrm>
        </p:spPr>
        <p:txBody>
          <a:bodyPr/>
          <a:lstStyle>
            <a:lvl1pPr>
              <a:spcBef>
                <a:spcPts val="1663"/>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p:cNvGrpSpPr/>
          <p:nvPr userDrawn="1"/>
        </p:nvGrpSpPr>
        <p:grpSpPr>
          <a:xfrm>
            <a:off x="238843" y="198785"/>
            <a:ext cx="1192393" cy="304801"/>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30853988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3"/>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5830809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5805154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047359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8"/>
            <a:ext cx="6958012" cy="4752975"/>
          </a:xfrm>
          <a:prstGeom prst="rect">
            <a:avLst/>
          </a:prstGeom>
        </p:spPr>
        <p:txBody>
          <a:bodyPr>
            <a:normAutofit/>
          </a:bodyPr>
          <a:lstStyle>
            <a:lvl1pPr>
              <a:spcBef>
                <a:spcPts val="3600"/>
              </a:spcBef>
              <a:defRPr sz="22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652575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9" y="317503"/>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3061343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9" y="317503"/>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5603361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40" y="2052003"/>
            <a:ext cx="8391524"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376240" y="1700217"/>
            <a:ext cx="8391524"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7"/>
            <a:ext cx="8391525"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42756067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9"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7"/>
            <a:ext cx="8374064"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418651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3"/>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40" y="1665290"/>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3705770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rm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1" y="1665290"/>
            <a:ext cx="3979763" cy="4716461"/>
          </a:xfrm>
          <a:prstGeom prst="rect">
            <a:avLst/>
          </a:prstGeom>
        </p:spPr>
        <p:txBody>
          <a:bodyPr>
            <a:norm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7112000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2"/>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8" y="6121017"/>
            <a:ext cx="8391525"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5177063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4755918"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7"/>
            <a:ext cx="8374064"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34408513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3"/>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9" y="1665289"/>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7"/>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3590305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rmAutofit/>
          </a:bodyPr>
          <a:lstStyle>
            <a:lvl1pPr>
              <a:tabLst>
                <a:tab pos="5029074" algn="r"/>
              </a:tabLst>
              <a:defRPr sz="22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7536105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94191" y="1700217"/>
            <a:ext cx="2074691" cy="4656835"/>
          </a:xfrm>
        </p:spPr>
        <p:txBody>
          <a:bodyPr/>
          <a:lstStyle>
            <a:lvl1pPr>
              <a:spcBef>
                <a:spcPts val="0"/>
              </a:spcBef>
              <a:spcAft>
                <a:spcPts val="555"/>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2835278" y="1700212"/>
            <a:ext cx="5914537" cy="4657726"/>
          </a:xfrm>
        </p:spPr>
        <p:txBody>
          <a:bodyPr/>
          <a:lstStyle>
            <a:lvl1pPr>
              <a:spcBef>
                <a:spcPts val="1663"/>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p:cNvGrpSpPr/>
          <p:nvPr userDrawn="1"/>
        </p:nvGrpSpPr>
        <p:grpSpPr>
          <a:xfrm>
            <a:off x="238843" y="198785"/>
            <a:ext cx="1192393" cy="304801"/>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282736962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8"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4"/>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3"/>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9"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2242265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172013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5"/>
            <a:ext cx="8391525"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7"/>
            <a:ext cx="2771775"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800" y="1700217"/>
            <a:ext cx="2762965"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4806" y="1700217"/>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9"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6299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9045243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5"/>
            <a:ext cx="8391525" cy="698499"/>
          </a:xfrm>
        </p:spPr>
        <p:txBody>
          <a:bodyPr/>
          <a:lstStyle/>
          <a:p>
            <a:r>
              <a:rPr lang="en-US" noProof="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20" y="1863920"/>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6"/>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9629464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7" name="Picture Placeholder 29"/>
          <p:cNvSpPr>
            <a:spLocks noGrp="1"/>
          </p:cNvSpPr>
          <p:nvPr>
            <p:ph type="pic" sz="quarter" idx="20" hasCustomPrompt="1"/>
          </p:nvPr>
        </p:nvSpPr>
        <p:spPr>
          <a:xfrm>
            <a:off x="7818464" y="1857896"/>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4684647"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378002"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p:nvSpPr>
        <p:spPr>
          <a:xfrm>
            <a:off x="4684646"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2" y="4255710"/>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6"/>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20" y="1863920"/>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42900670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5"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1"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41437826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5600788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8" y="317503"/>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9" y="1665289"/>
            <a:ext cx="4195763"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5358826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2736411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3"/>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926443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29595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9" y="6018028"/>
            <a:ext cx="1739626" cy="363722"/>
          </a:xfrm>
        </p:spPr>
        <p:txBody>
          <a:bodyPr anchor="b" anchorCtr="0"/>
          <a:lstStyle>
            <a:lvl1pPr>
              <a:lnSpc>
                <a:spcPct val="100000"/>
              </a:lnSpc>
              <a:defRPr sz="951"/>
            </a:lvl1pPr>
          </a:lstStyle>
          <a:p>
            <a:pPr lvl="0"/>
            <a:r>
              <a:rPr lang="en-US"/>
              <a:t>Click to edit Master text styles</a:t>
            </a:r>
          </a:p>
        </p:txBody>
      </p:sp>
    </p:spTree>
    <p:extLst>
      <p:ext uri="{BB962C8B-B14F-4D97-AF65-F5344CB8AC3E}">
        <p14:creationId xmlns:p14="http://schemas.microsoft.com/office/powerpoint/2010/main" val="17245923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s-CO"/>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s-CO"/>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72091F26-5B73-42AC-ABA2-95F76F132352}" type="datetimeFigureOut">
              <a:rPr lang="es-CO" smtClean="0">
                <a:solidFill>
                  <a:prstClr val="black"/>
                </a:solidFill>
              </a:rPr>
              <a:pPr/>
              <a:t>28/03/2017</a:t>
            </a:fld>
            <a:endParaRPr lang="es-CO"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s-CO"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A19308A9-5F08-4048-A883-85DB9DFBC262}" type="slidenum">
              <a:rPr lang="es-CO" smtClean="0">
                <a:solidFill>
                  <a:prstClr val="black"/>
                </a:solidFill>
              </a:rPr>
              <a:pPr/>
              <a:t>‹Nº›</a:t>
            </a:fld>
            <a:endParaRPr lang="es-CO" dirty="0">
              <a:solidFill>
                <a:prstClr val="black"/>
              </a:solidFill>
            </a:endParaRPr>
          </a:p>
        </p:txBody>
      </p:sp>
    </p:spTree>
    <p:extLst>
      <p:ext uri="{BB962C8B-B14F-4D97-AF65-F5344CB8AC3E}">
        <p14:creationId xmlns:p14="http://schemas.microsoft.com/office/powerpoint/2010/main" val="3362588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889675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4515749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9" y="317503"/>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0628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vmlDrawing" Target="../drawings/vmlDrawing2.v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1.emf"/><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oleObject" Target="../embeddings/oleObject2.bin"/><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326"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TextBox 14"/>
          <p:cNvSpPr txBox="1"/>
          <p:nvPr/>
        </p:nvSpPr>
        <p:spPr>
          <a:xfrm>
            <a:off x="4751388" y="6477003"/>
            <a:ext cx="3672420" cy="200311"/>
          </a:xfrm>
          <a:prstGeom prst="rect">
            <a:avLst/>
          </a:prstGeom>
          <a:noFill/>
        </p:spPr>
        <p:txBody>
          <a:bodyPr wrap="square" lIns="0" tIns="0" rIns="0" bIns="0" rtlCol="0">
            <a:spAutoFit/>
          </a:bodyPr>
          <a:lstStyle/>
          <a:p>
            <a:pPr algn="r">
              <a:buSzPct val="100000"/>
              <a:buFont typeface="Arial"/>
              <a:buNone/>
            </a:pPr>
            <a:r>
              <a:rPr lang="en-US" sz="651" dirty="0">
                <a:solidFill>
                  <a:prstClr val="black"/>
                </a:solidFill>
              </a:rPr>
              <a:t>Presentation title</a:t>
            </a:r>
            <a:br>
              <a:rPr lang="en-US" sz="651" dirty="0">
                <a:solidFill>
                  <a:prstClr val="black"/>
                </a:solidFill>
              </a:rPr>
            </a:br>
            <a:r>
              <a:rPr lang="en-US" sz="651" dirty="0">
                <a:solidFill>
                  <a:prstClr val="black"/>
                </a:solidFill>
              </a:rPr>
              <a:t>[To edit, click View &gt; Slide Master &gt; Slide Master]</a:t>
            </a:r>
          </a:p>
        </p:txBody>
      </p:sp>
      <p:sp>
        <p:nvSpPr>
          <p:cNvPr id="18" name="TextBox 17"/>
          <p:cNvSpPr txBox="1"/>
          <p:nvPr/>
        </p:nvSpPr>
        <p:spPr>
          <a:xfrm>
            <a:off x="376237" y="6477003"/>
            <a:ext cx="4016376" cy="200311"/>
          </a:xfrm>
          <a:prstGeom prst="rect">
            <a:avLst/>
          </a:prstGeom>
          <a:noFill/>
        </p:spPr>
        <p:txBody>
          <a:bodyPr wrap="square" lIns="0" tIns="0" rIns="0" bIns="0" rtlCol="0">
            <a:spAutoFit/>
          </a:bodyPr>
          <a:lstStyle/>
          <a:p>
            <a:pPr>
              <a:spcBef>
                <a:spcPts val="600"/>
              </a:spcBef>
              <a:buSzPct val="100000"/>
              <a:buFont typeface="Arial"/>
              <a:buNone/>
            </a:pPr>
            <a:r>
              <a:rPr lang="en-US" sz="651" dirty="0">
                <a:solidFill>
                  <a:prstClr val="black"/>
                </a:solidFill>
              </a:rPr>
              <a:t>Member firms and DTTL: Insert appropriate copyright</a:t>
            </a:r>
            <a:br>
              <a:rPr lang="en-US" sz="651" dirty="0">
                <a:solidFill>
                  <a:prstClr val="black"/>
                </a:solidFill>
              </a:rPr>
            </a:br>
            <a:r>
              <a:rPr lang="en-US" sz="651" dirty="0">
                <a:solidFill>
                  <a:prstClr val="black"/>
                </a:solidFill>
              </a:rPr>
              <a:t>[To edit, click View &gt; Slide Master &gt; Slide Master]</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8536784" y="6477002"/>
            <a:ext cx="230981" cy="100156"/>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1" smtClean="0">
                <a:solidFill>
                  <a:prstClr val="black"/>
                </a:solidFill>
              </a:rPr>
              <a:pPr algn="r">
                <a:spcBef>
                  <a:spcPts val="600"/>
                </a:spcBef>
                <a:buSzPct val="100000"/>
                <a:buFont typeface="Arial"/>
                <a:buNone/>
              </a:pPr>
              <a:t>‹Nº›</a:t>
            </a:fld>
            <a:endParaRPr lang="en-US" sz="651" dirty="0">
              <a:solidFill>
                <a:prstClr val="black"/>
              </a:solidFill>
            </a:endParaRPr>
          </a:p>
        </p:txBody>
      </p:sp>
    </p:spTree>
    <p:extLst>
      <p:ext uri="{BB962C8B-B14F-4D97-AF65-F5344CB8AC3E}">
        <p14:creationId xmlns:p14="http://schemas.microsoft.com/office/powerpoint/2010/main" val="395400636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Lst>
  <p:transition>
    <p:fade/>
  </p:transition>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76" userDrawn="1">
          <p15:clr>
            <a:srgbClr val="F26B43"/>
          </p15:clr>
        </p15:guide>
        <p15:guide id="2" orient="horz" pos="2160" userDrawn="1">
          <p15:clr>
            <a:srgbClr val="F26B43"/>
          </p15:clr>
        </p15:guide>
        <p15:guide id="3" orient="horz" pos="4020" userDrawn="1">
          <p15:clr>
            <a:srgbClr val="F26B43"/>
          </p15:clr>
        </p15:guide>
        <p15:guide id="4" pos="178" userDrawn="1">
          <p15:clr>
            <a:srgbClr val="F26B43"/>
          </p15:clr>
        </p15:guide>
        <p15:guide id="5" pos="4142"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2791" userDrawn="1">
          <p15:clr>
            <a:srgbClr val="F26B43"/>
          </p15:clr>
        </p15:guide>
        <p15:guide id="10" orient="horz" pos="236" userDrawn="1">
          <p15:clr>
            <a:srgbClr val="F26B43"/>
          </p15:clr>
        </p15:guide>
        <p15:guide id="11" pos="767" userDrawn="1">
          <p15:clr>
            <a:srgbClr val="F26B43"/>
          </p15:clr>
        </p15:guide>
        <p15:guide id="12" pos="853" userDrawn="1">
          <p15:clr>
            <a:srgbClr val="F26B43"/>
          </p15:clr>
        </p15:guide>
        <p15:guide id="13" pos="1440" userDrawn="1">
          <p15:clr>
            <a:srgbClr val="F26B43"/>
          </p15:clr>
        </p15:guide>
        <p15:guide id="14" pos="1525" userDrawn="1">
          <p15:clr>
            <a:srgbClr val="F26B43"/>
          </p15:clr>
        </p15:guide>
        <p15:guide id="15" pos="3465" userDrawn="1">
          <p15:clr>
            <a:srgbClr val="F26B43"/>
          </p15:clr>
        </p15:guide>
        <p15:guide id="16" pos="2117" userDrawn="1">
          <p15:clr>
            <a:srgbClr val="F26B43"/>
          </p15:clr>
        </p15:guide>
        <p15:guide id="17" pos="2203" userDrawn="1">
          <p15:clr>
            <a:srgbClr val="F26B43"/>
          </p15:clr>
        </p15:guide>
        <p15:guide id="18" pos="2160" userDrawn="1">
          <p15:clr>
            <a:srgbClr val="F26B43"/>
          </p15:clr>
        </p15:guide>
        <p15:guide id="19" pos="3551"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348"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8536784" y="6477002"/>
            <a:ext cx="230981" cy="100156"/>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1" smtClean="0">
                <a:solidFill>
                  <a:prstClr val="black"/>
                </a:solidFill>
              </a:rPr>
              <a:pPr algn="r">
                <a:spcBef>
                  <a:spcPts val="600"/>
                </a:spcBef>
                <a:buSzPct val="100000"/>
                <a:buFont typeface="Arial"/>
                <a:buNone/>
              </a:pPr>
              <a:t>‹Nº›</a:t>
            </a:fld>
            <a:endParaRPr lang="en-US" sz="651" dirty="0">
              <a:solidFill>
                <a:prstClr val="black"/>
              </a:solidFill>
            </a:endParaRPr>
          </a:p>
        </p:txBody>
      </p:sp>
    </p:spTree>
    <p:extLst>
      <p:ext uri="{BB962C8B-B14F-4D97-AF65-F5344CB8AC3E}">
        <p14:creationId xmlns:p14="http://schemas.microsoft.com/office/powerpoint/2010/main" val="396737966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Lst>
  <p:transition>
    <p:fade/>
  </p:transition>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76" userDrawn="1">
          <p15:clr>
            <a:srgbClr val="F26B43"/>
          </p15:clr>
        </p15:guide>
        <p15:guide id="2" orient="horz" pos="2160" userDrawn="1">
          <p15:clr>
            <a:srgbClr val="F26B43"/>
          </p15:clr>
        </p15:guide>
        <p15:guide id="3" orient="horz" pos="4020" userDrawn="1">
          <p15:clr>
            <a:srgbClr val="F26B43"/>
          </p15:clr>
        </p15:guide>
        <p15:guide id="4" pos="178" userDrawn="1">
          <p15:clr>
            <a:srgbClr val="F26B43"/>
          </p15:clr>
        </p15:guide>
        <p15:guide id="5" pos="4142"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2791" userDrawn="1">
          <p15:clr>
            <a:srgbClr val="F26B43"/>
          </p15:clr>
        </p15:guide>
        <p15:guide id="10" orient="horz" pos="236" userDrawn="1">
          <p15:clr>
            <a:srgbClr val="F26B43"/>
          </p15:clr>
        </p15:guide>
        <p15:guide id="11" pos="767" userDrawn="1">
          <p15:clr>
            <a:srgbClr val="F26B43"/>
          </p15:clr>
        </p15:guide>
        <p15:guide id="12" pos="853" userDrawn="1">
          <p15:clr>
            <a:srgbClr val="F26B43"/>
          </p15:clr>
        </p15:guide>
        <p15:guide id="13" pos="1440" userDrawn="1">
          <p15:clr>
            <a:srgbClr val="F26B43"/>
          </p15:clr>
        </p15:guide>
        <p15:guide id="14" pos="1525" userDrawn="1">
          <p15:clr>
            <a:srgbClr val="F26B43"/>
          </p15:clr>
        </p15:guide>
        <p15:guide id="15" pos="3465" userDrawn="1">
          <p15:clr>
            <a:srgbClr val="F26B43"/>
          </p15:clr>
        </p15:guide>
        <p15:guide id="16" pos="2117" userDrawn="1">
          <p15:clr>
            <a:srgbClr val="F26B43"/>
          </p15:clr>
        </p15:guide>
        <p15:guide id="17" pos="2203" userDrawn="1">
          <p15:clr>
            <a:srgbClr val="F26B43"/>
          </p15:clr>
        </p15:guide>
        <p15:guide id="18" pos="2160" userDrawn="1">
          <p15:clr>
            <a:srgbClr val="F26B43"/>
          </p15:clr>
        </p15:guide>
        <p15:guide id="19" pos="3551"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Layout" Target="../slideLayouts/slideLayout33.xml"/><Relationship Id="rId1" Type="http://schemas.openxmlformats.org/officeDocument/2006/relationships/themeOverride" Target="../theme/themeOverride1.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image" Target="../media/image6.pn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2.xml"/><Relationship Id="rId1" Type="http://schemas.openxmlformats.org/officeDocument/2006/relationships/slideLayout" Target="../slideLayouts/slideLayout33.xml"/><Relationship Id="rId5" Type="http://schemas.openxmlformats.org/officeDocument/2006/relationships/hyperlink" Target="http://mintic.gov.co/portal/604/w3-propertyvalue-7458.html" TargetMode="External"/><Relationship Id="rId4" Type="http://schemas.openxmlformats.org/officeDocument/2006/relationships/hyperlink" Target="mailto:minticresponde@mintic.gov.co"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slide" Target="slide11.xml"/><Relationship Id="rId3" Type="http://schemas.openxmlformats.org/officeDocument/2006/relationships/image" Target="../media/image7.png"/><Relationship Id="rId7" Type="http://schemas.openxmlformats.org/officeDocument/2006/relationships/slide" Target="slide7.xml"/><Relationship Id="rId12" Type="http://schemas.openxmlformats.org/officeDocument/2006/relationships/slide" Target="slide10.xml"/><Relationship Id="rId2" Type="http://schemas.openxmlformats.org/officeDocument/2006/relationships/slide" Target="slide2.xml"/><Relationship Id="rId1" Type="http://schemas.openxmlformats.org/officeDocument/2006/relationships/slideLayout" Target="../slideLayouts/slideLayout33.xml"/><Relationship Id="rId6" Type="http://schemas.openxmlformats.org/officeDocument/2006/relationships/image" Target="../media/image4.png"/><Relationship Id="rId11" Type="http://schemas.openxmlformats.org/officeDocument/2006/relationships/slide" Target="slide14.xml"/><Relationship Id="rId5" Type="http://schemas.openxmlformats.org/officeDocument/2006/relationships/slide" Target="slide5.xml"/><Relationship Id="rId15" Type="http://schemas.openxmlformats.org/officeDocument/2006/relationships/slide" Target="slide13.xml"/><Relationship Id="rId10" Type="http://schemas.openxmlformats.org/officeDocument/2006/relationships/image" Target="../media/image6.png"/><Relationship Id="rId4" Type="http://schemas.openxmlformats.org/officeDocument/2006/relationships/slide" Target="slide6.xml"/><Relationship Id="rId9" Type="http://schemas.openxmlformats.org/officeDocument/2006/relationships/slide" Target="slide8.xml"/><Relationship Id="rId14" Type="http://schemas.openxmlformats.org/officeDocument/2006/relationships/slide" Target="slide12.xml"/></Relationships>
</file>

<file path=ppt/slides/_rels/slide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mintic.gov.co/" TargetMode="External"/><Relationship Id="rId1" Type="http://schemas.openxmlformats.org/officeDocument/2006/relationships/slideLayout" Target="../slideLayouts/slideLayout3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4.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4.xml"/><Relationship Id="rId1" Type="http://schemas.openxmlformats.org/officeDocument/2006/relationships/slideLayout" Target="../slideLayouts/slideLayout33.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4.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3"/>
          <p:cNvSpPr txBox="1">
            <a:spLocks/>
          </p:cNvSpPr>
          <p:nvPr/>
        </p:nvSpPr>
        <p:spPr bwMode="gray">
          <a:xfrm>
            <a:off x="376238" y="5048103"/>
            <a:ext cx="7029646" cy="50812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lvl="0"/>
            <a:r>
              <a:rPr lang="es-CO" b="1" dirty="0">
                <a:ea typeface="Open Sans" panose="020B0606030504020204" pitchFamily="34" charset="0"/>
                <a:cs typeface="Open Sans" panose="020B0606030504020204" pitchFamily="34" charset="0"/>
              </a:rPr>
              <a:t>Asesoría Técnica a la Subdirección de Vigilancia y Control de Radiodifusión Sonora - Contrato No. 580 de 2014</a:t>
            </a:r>
            <a:br>
              <a:rPr lang="es-CO" dirty="0">
                <a:ea typeface="Open Sans" panose="020B0606030504020204" pitchFamily="34" charset="0"/>
                <a:cs typeface="Open Sans" panose="020B0606030504020204" pitchFamily="34" charset="0"/>
              </a:rPr>
            </a:br>
            <a:br>
              <a:rPr lang="en-US" dirty="0">
                <a:ea typeface="Open Sans" panose="020B0606030504020204" pitchFamily="34" charset="0"/>
                <a:cs typeface="Open Sans" panose="020B0606030504020204" pitchFamily="34" charset="0"/>
              </a:rPr>
            </a:br>
            <a:endParaRPr lang="en-US" dirty="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ea typeface="Open Sans" panose="020B0606030504020204" pitchFamily="34" charset="0"/>
              <a:cs typeface="Open Sans" panose="020B0606030504020204" pitchFamily="34" charset="0"/>
            </a:endParaRPr>
          </a:p>
        </p:txBody>
      </p:sp>
      <p:sp>
        <p:nvSpPr>
          <p:cNvPr id="8" name="Text Placeholder 4"/>
          <p:cNvSpPr txBox="1">
            <a:spLocks/>
          </p:cNvSpPr>
          <p:nvPr/>
        </p:nvSpPr>
        <p:spPr>
          <a:xfrm>
            <a:off x="376237" y="6508362"/>
            <a:ext cx="4446373" cy="298450"/>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a:solidFill>
                  <a:schemeClr val="bg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a:solidFill>
                  <a:schemeClr val="bg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a:solidFill>
                  <a:schemeClr val="bg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a:solidFill>
                  <a:schemeClr val="bg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CO" dirty="0">
                <a:ea typeface="Open Sans" panose="020B0606030504020204" pitchFamily="34" charset="0"/>
                <a:cs typeface="Open Sans" panose="020B0606030504020204" pitchFamily="34" charset="0"/>
              </a:rPr>
              <a:t>Marzo de 2017</a:t>
            </a:r>
            <a:endParaRPr lang="en-US" dirty="0">
              <a:ea typeface="Open Sans" panose="020B0606030504020204" pitchFamily="34" charset="0"/>
              <a:cs typeface="Open Sans" panose="020B0606030504020204" pitchFamily="34" charset="0"/>
            </a:endParaRPr>
          </a:p>
        </p:txBody>
      </p:sp>
      <p:sp>
        <p:nvSpPr>
          <p:cNvPr id="9" name="Subtitle 3"/>
          <p:cNvSpPr txBox="1">
            <a:spLocks/>
          </p:cNvSpPr>
          <p:nvPr/>
        </p:nvSpPr>
        <p:spPr bwMode="gray">
          <a:xfrm>
            <a:off x="376238" y="6156965"/>
            <a:ext cx="6797666" cy="26959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CO"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Ministerio de Tecnologías de la Información y las Comunicaciones</a:t>
            </a:r>
            <a:endParaRPr kumimoji="0" lang="en-US"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10" name="Subtitle 3"/>
          <p:cNvSpPr txBox="1">
            <a:spLocks/>
          </p:cNvSpPr>
          <p:nvPr/>
        </p:nvSpPr>
        <p:spPr bwMode="gray">
          <a:xfrm>
            <a:off x="376238" y="5607126"/>
            <a:ext cx="6797666" cy="48544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CO" b="1" i="0" u="none" strike="noStrike" kern="1200" cap="none" spc="0" normalizeH="0" baseline="0" noProof="0" dirty="0">
                <a:ln>
                  <a:noFill/>
                </a:ln>
                <a:solidFill>
                  <a:schemeClr val="tx1">
                    <a:lumMod val="75000"/>
                    <a:lumOff val="25000"/>
                  </a:schemeClr>
                </a:solidFill>
                <a:effectLst/>
                <a:uLnTx/>
                <a:uFillTx/>
                <a:ea typeface="Open Sans" panose="020B0606030504020204" pitchFamily="34" charset="0"/>
                <a:cs typeface="Open Sans" panose="020B0606030504020204" pitchFamily="34" charset="0"/>
              </a:rPr>
              <a:t>Calendario para el</a:t>
            </a:r>
            <a:r>
              <a:rPr kumimoji="0" lang="es-CO" b="1" i="0" u="none" strike="noStrike" kern="1200" cap="none" spc="0" normalizeH="0" noProof="0" dirty="0">
                <a:ln>
                  <a:noFill/>
                </a:ln>
                <a:solidFill>
                  <a:schemeClr val="tx1">
                    <a:lumMod val="75000"/>
                    <a:lumOff val="25000"/>
                  </a:schemeClr>
                </a:solidFill>
                <a:effectLst/>
                <a:uLnTx/>
                <a:uFillTx/>
                <a:ea typeface="Open Sans" panose="020B0606030504020204" pitchFamily="34" charset="0"/>
                <a:cs typeface="Open Sans" panose="020B0606030504020204" pitchFamily="34" charset="0"/>
              </a:rPr>
              <a:t> Cumplimiento </a:t>
            </a:r>
            <a:r>
              <a:rPr kumimoji="0" lang="es-CO" b="1" i="0" u="none" strike="noStrike" kern="1200" cap="none" spc="0" normalizeH="0" baseline="0" noProof="0" dirty="0">
                <a:ln>
                  <a:noFill/>
                </a:ln>
                <a:solidFill>
                  <a:schemeClr val="tx1">
                    <a:lumMod val="75000"/>
                    <a:lumOff val="25000"/>
                  </a:schemeClr>
                </a:solidFill>
                <a:effectLst/>
                <a:uLnTx/>
                <a:uFillTx/>
                <a:ea typeface="Open Sans" panose="020B0606030504020204" pitchFamily="34" charset="0"/>
                <a:cs typeface="Open Sans" panose="020B0606030504020204" pitchFamily="34" charset="0"/>
              </a:rPr>
              <a:t>de Obligaciones de los Concesionarios de RDS</a:t>
            </a:r>
            <a:endParaRPr kumimoji="0" lang="en-US" b="1" i="0" u="none" strike="noStrike" kern="1200" cap="none" spc="0" normalizeH="0" baseline="0" noProof="0" dirty="0">
              <a:ln>
                <a:noFill/>
              </a:ln>
              <a:solidFill>
                <a:schemeClr val="tx1">
                  <a:lumMod val="75000"/>
                  <a:lumOff val="25000"/>
                </a:schemeClr>
              </a:solidFill>
              <a:effectLst/>
              <a:uLnTx/>
              <a:uFillTx/>
              <a:ea typeface="Open Sans" panose="020B0606030504020204" pitchFamily="34" charset="0"/>
              <a:cs typeface="Open Sans" panose="020B0606030504020204" pitchFamily="34" charset="0"/>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0810" y="372806"/>
            <a:ext cx="5152516" cy="5152516"/>
          </a:xfrm>
          <a:prstGeom prst="rect">
            <a:avLst/>
          </a:prstGeom>
        </p:spPr>
      </p:pic>
      <p:pic>
        <p:nvPicPr>
          <p:cNvPr id="2" name="Picture 1"/>
          <p:cNvPicPr>
            <a:picLocks noChangeAspect="1"/>
          </p:cNvPicPr>
          <p:nvPr/>
        </p:nvPicPr>
        <p:blipFill>
          <a:blip r:embed="rId3"/>
          <a:stretch>
            <a:fillRect/>
          </a:stretch>
        </p:blipFill>
        <p:spPr>
          <a:xfrm>
            <a:off x="200957" y="18431"/>
            <a:ext cx="6162675" cy="885825"/>
          </a:xfrm>
          <a:prstGeom prst="rect">
            <a:avLst/>
          </a:prstGeom>
        </p:spPr>
      </p:pic>
      <p:grpSp>
        <p:nvGrpSpPr>
          <p:cNvPr id="12" name="Group 11"/>
          <p:cNvGrpSpPr/>
          <p:nvPr/>
        </p:nvGrpSpPr>
        <p:grpSpPr>
          <a:xfrm>
            <a:off x="6788496" y="288932"/>
            <a:ext cx="1809594" cy="344822"/>
            <a:chOff x="398463" y="404813"/>
            <a:chExt cx="1627187" cy="307976"/>
          </a:xfrm>
          <a:solidFill>
            <a:schemeClr val="tx1"/>
          </a:solidFill>
        </p:grpSpPr>
        <p:sp>
          <p:nvSpPr>
            <p:cNvPr id="1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16016727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857259" y="2257834"/>
            <a:ext cx="4103150" cy="1384995"/>
          </a:xfrm>
          <a:prstGeom prst="rect">
            <a:avLst/>
          </a:prstGeom>
          <a:ln>
            <a:noFill/>
          </a:ln>
        </p:spPr>
        <p:txBody>
          <a:bodyPr wrap="square">
            <a:spAutoFit/>
          </a:bodyPr>
          <a:lstStyle/>
          <a:p>
            <a:pPr marL="0" lvl="2">
              <a:spcBef>
                <a:spcPts val="600"/>
              </a:spcBef>
              <a:buSzPct val="100000"/>
            </a:pPr>
            <a:r>
              <a:rPr lang="es-CO" altLang="ja-JP" sz="1050" b="1" dirty="0">
                <a:solidFill>
                  <a:srgbClr val="009A44"/>
                </a:solidFill>
              </a:rPr>
              <a:t>¿Cómo?</a:t>
            </a:r>
          </a:p>
          <a:p>
            <a:r>
              <a:rPr lang="es-CO" sz="1050" dirty="0"/>
              <a:t>Invertir en su integridad los recursos obtenidos por:</a:t>
            </a:r>
          </a:p>
          <a:p>
            <a:endParaRPr lang="es-CO" sz="1050" dirty="0"/>
          </a:p>
          <a:p>
            <a:pPr marL="171450" indent="-171450">
              <a:buFont typeface="Arial" panose="020B0604020202020204" pitchFamily="34" charset="0"/>
              <a:buChar char="•"/>
            </a:pPr>
            <a:r>
              <a:rPr lang="es-CO" sz="1050" dirty="0"/>
              <a:t>Para concesionarios comunitarios: Pautas o comercialización de espacio.</a:t>
            </a:r>
          </a:p>
          <a:p>
            <a:pPr marL="171450" indent="-171450">
              <a:buFont typeface="Arial" panose="020B0604020202020204" pitchFamily="34" charset="0"/>
              <a:buChar char="•"/>
            </a:pPr>
            <a:endParaRPr lang="es-CO" sz="1050" dirty="0"/>
          </a:p>
          <a:p>
            <a:pPr marL="171450" indent="-171450">
              <a:buFont typeface="Arial" panose="020B0604020202020204" pitchFamily="34" charset="0"/>
              <a:buChar char="•"/>
            </a:pPr>
            <a:r>
              <a:rPr lang="es-CO" sz="1050" dirty="0"/>
              <a:t>Para concesionarios de Interés Público: Patrocinios, auspicios y apoyos financieros.</a:t>
            </a:r>
            <a:endParaRPr lang="es-CO" altLang="ja-JP" sz="1050" b="1" dirty="0">
              <a:solidFill>
                <a:srgbClr val="009A44"/>
              </a:solidFill>
              <a:ea typeface="ＭＳ Ｐゴシック" pitchFamily="50" charset="-128"/>
            </a:endParaRPr>
          </a:p>
        </p:txBody>
      </p:sp>
      <p:sp>
        <p:nvSpPr>
          <p:cNvPr id="17" name="Rectangle 16"/>
          <p:cNvSpPr/>
          <p:nvPr/>
        </p:nvSpPr>
        <p:spPr>
          <a:xfrm>
            <a:off x="1624084" y="366704"/>
            <a:ext cx="5665681" cy="923330"/>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Reinvertir sus recursos en el funcionamiento de la emisora</a:t>
            </a:r>
          </a:p>
          <a:p>
            <a:pPr algn="ctr">
              <a:spcBef>
                <a:spcPct val="0"/>
              </a:spcBef>
            </a:pPr>
            <a:r>
              <a:rPr lang="es-CO" sz="1200" b="1" dirty="0">
                <a:ea typeface="Open Sans" panose="020B0606030504020204" pitchFamily="34" charset="0"/>
                <a:cs typeface="Open Sans" panose="020B0606030504020204" pitchFamily="34" charset="0"/>
              </a:rPr>
              <a:t>Concesionarios Comunitarios y de Interés Público</a:t>
            </a:r>
          </a:p>
        </p:txBody>
      </p:sp>
      <p:sp>
        <p:nvSpPr>
          <p:cNvPr id="25" name="Diagonal Stripe 24"/>
          <p:cNvSpPr/>
          <p:nvPr/>
        </p:nvSpPr>
        <p:spPr>
          <a:xfrm>
            <a:off x="2517213" y="2413970"/>
            <a:ext cx="288000" cy="288000"/>
          </a:xfrm>
          <a:prstGeom prst="diagStripe">
            <a:avLst/>
          </a:prstGeom>
          <a:solidFill>
            <a:srgbClr val="2C523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2523576" y="2094990"/>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2837440" y="4040298"/>
            <a:ext cx="3431877" cy="507831"/>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CO" sz="1050" dirty="0"/>
              <a:t>Permanente.</a:t>
            </a:r>
          </a:p>
        </p:txBody>
      </p:sp>
      <p:sp>
        <p:nvSpPr>
          <p:cNvPr id="37" name="Diagonal Stripe 36"/>
          <p:cNvSpPr/>
          <p:nvPr/>
        </p:nvSpPr>
        <p:spPr>
          <a:xfrm>
            <a:off x="2523576" y="4207162"/>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2529939" y="3888182"/>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pic>
        <p:nvPicPr>
          <p:cNvPr id="16" name="Picture 15"/>
          <p:cNvPicPr>
            <a:picLocks noChangeAspect="1"/>
          </p:cNvPicPr>
          <p:nvPr/>
        </p:nvPicPr>
        <p:blipFill>
          <a:blip r:embed="rId3"/>
          <a:stretch>
            <a:fillRect/>
          </a:stretch>
        </p:blipFill>
        <p:spPr>
          <a:xfrm>
            <a:off x="7372057" y="2168"/>
            <a:ext cx="2030144" cy="1304657"/>
          </a:xfrm>
          <a:prstGeom prst="rect">
            <a:avLst/>
          </a:prstGeom>
        </p:spPr>
      </p:pic>
      <p:sp>
        <p:nvSpPr>
          <p:cNvPr id="18" name="Freeform 70"/>
          <p:cNvSpPr>
            <a:spLocks noEditPoints="1"/>
          </p:cNvSpPr>
          <p:nvPr/>
        </p:nvSpPr>
        <p:spPr bwMode="auto">
          <a:xfrm>
            <a:off x="8043353" y="294375"/>
            <a:ext cx="684000" cy="68400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722347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726358" y="2381928"/>
            <a:ext cx="1800000" cy="1415772"/>
          </a:xfrm>
          <a:prstGeom prst="rect">
            <a:avLst/>
          </a:prstGeom>
          <a:ln>
            <a:noFill/>
          </a:ln>
        </p:spPr>
        <p:txBody>
          <a:bodyPr wrap="square">
            <a:spAutoFit/>
          </a:bodyPr>
          <a:lstStyle/>
          <a:p>
            <a:pPr marL="0" lvl="2">
              <a:spcBef>
                <a:spcPts val="600"/>
              </a:spcBef>
              <a:buSzPct val="100000"/>
            </a:pPr>
            <a:r>
              <a:rPr lang="es-CO" altLang="ja-JP" sz="900" b="1" dirty="0">
                <a:solidFill>
                  <a:schemeClr val="accent4"/>
                </a:solidFill>
              </a:rPr>
              <a:t>¿Cómo?</a:t>
            </a:r>
            <a:endParaRPr lang="es-CO" altLang="ja-JP" sz="900" b="1" dirty="0">
              <a:solidFill>
                <a:schemeClr val="accent4"/>
              </a:solidFill>
              <a:ea typeface="ＭＳ Ｐゴシック" pitchFamily="50" charset="-128"/>
            </a:endParaRPr>
          </a:p>
          <a:p>
            <a:pPr marL="0" lvl="2">
              <a:spcBef>
                <a:spcPts val="600"/>
              </a:spcBef>
              <a:buSzPct val="100000"/>
            </a:pPr>
            <a:r>
              <a:rPr lang="es-ES" sz="900" dirty="0"/>
              <a:t>Pagar a favor del FONTIC, el importe que será fijado mediante Resolución del MINTIC, equivalente a 3 SMLMV.</a:t>
            </a:r>
          </a:p>
        </p:txBody>
      </p:sp>
      <p:sp>
        <p:nvSpPr>
          <p:cNvPr id="16" name="Rectangle 15"/>
          <p:cNvSpPr/>
          <p:nvPr/>
        </p:nvSpPr>
        <p:spPr>
          <a:xfrm>
            <a:off x="4877201" y="2381928"/>
            <a:ext cx="1800000" cy="2169825"/>
          </a:xfrm>
          <a:prstGeom prst="rect">
            <a:avLst/>
          </a:prstGeom>
          <a:ln>
            <a:noFill/>
          </a:ln>
        </p:spPr>
        <p:txBody>
          <a:bodyPr wrap="square">
            <a:spAutoFit/>
          </a:bodyPr>
          <a:lstStyle/>
          <a:p>
            <a:pPr marL="0" lvl="2">
              <a:spcBef>
                <a:spcPts val="600"/>
              </a:spcBef>
              <a:buSzPct val="100000"/>
            </a:pPr>
            <a:r>
              <a:rPr lang="es-CO" altLang="ja-JP" sz="900" b="1" dirty="0">
                <a:solidFill>
                  <a:schemeClr val="accent4">
                    <a:lumMod val="60000"/>
                    <a:lumOff val="40000"/>
                  </a:schemeClr>
                </a:solidFill>
              </a:rPr>
              <a:t>¿Cómo?</a:t>
            </a:r>
          </a:p>
          <a:p>
            <a:r>
              <a:rPr lang="es-ES" sz="900" dirty="0"/>
              <a:t>Se pagará una suma equivalente a cien (100) SMLMV previa solicitud al MINTIC, disposición del acto administrativo del registro y en caso de requerir frecuencias radioeléctricas, cancelar la tarifa estipulada al FONTIC.</a:t>
            </a:r>
          </a:p>
        </p:txBody>
      </p:sp>
      <p:sp>
        <p:nvSpPr>
          <p:cNvPr id="17" name="Rectangle 16"/>
          <p:cNvSpPr/>
          <p:nvPr/>
        </p:nvSpPr>
        <p:spPr>
          <a:xfrm>
            <a:off x="1780317" y="257601"/>
            <a:ext cx="5584365" cy="1015663"/>
          </a:xfrm>
          <a:prstGeom prst="rect">
            <a:avLst/>
          </a:prstGeom>
        </p:spPr>
        <p:txBody>
          <a:bodyPr wrap="square">
            <a:spAutoFit/>
          </a:bodyPr>
          <a:lstStyle/>
          <a:p>
            <a:pPr algn="ctr">
              <a:spcBef>
                <a:spcPct val="0"/>
              </a:spcBef>
            </a:pPr>
            <a:r>
              <a:rPr lang="es-ES" sz="2400" b="1" dirty="0">
                <a:ea typeface="Open Sans" panose="020B0606030504020204" pitchFamily="34" charset="0"/>
                <a:cs typeface="Open Sans" panose="020B0606030504020204" pitchFamily="34" charset="0"/>
              </a:rPr>
              <a:t>Pago oportuno de contraprestaciones</a:t>
            </a:r>
          </a:p>
          <a:p>
            <a:pPr algn="ctr">
              <a:spcBef>
                <a:spcPct val="0"/>
              </a:spcBef>
            </a:pPr>
            <a:r>
              <a:rPr lang="es-CO" sz="1200" b="1" dirty="0">
                <a:ea typeface="Open Sans" panose="020B0606030504020204" pitchFamily="34" charset="0"/>
                <a:cs typeface="Open Sans" panose="020B0606030504020204" pitchFamily="34" charset="0"/>
              </a:rPr>
              <a:t>Todos los Concesionarios</a:t>
            </a:r>
          </a:p>
        </p:txBody>
      </p:sp>
      <p:sp>
        <p:nvSpPr>
          <p:cNvPr id="18" name="TextBox 17"/>
          <p:cNvSpPr txBox="1"/>
          <p:nvPr/>
        </p:nvSpPr>
        <p:spPr>
          <a:xfrm>
            <a:off x="3266011" y="1440168"/>
            <a:ext cx="385737" cy="503590"/>
          </a:xfrm>
          <a:prstGeom prst="rect">
            <a:avLst/>
          </a:prstGeom>
          <a:noFill/>
        </p:spPr>
        <p:txBody>
          <a:bodyPr wrap="square" lIns="36000" tIns="36000" rIns="36000" bIns="36000" rtlCol="0">
            <a:spAutoFit/>
          </a:bodyPr>
          <a:lstStyle/>
          <a:p>
            <a:r>
              <a:rPr lang="en-US" sz="2800" b="1" dirty="0">
                <a:solidFill>
                  <a:schemeClr val="accent4"/>
                </a:solidFill>
              </a:rPr>
              <a:t>2</a:t>
            </a:r>
          </a:p>
        </p:txBody>
      </p:sp>
      <p:sp>
        <p:nvSpPr>
          <p:cNvPr id="20" name="TextBox 19"/>
          <p:cNvSpPr txBox="1"/>
          <p:nvPr/>
        </p:nvSpPr>
        <p:spPr>
          <a:xfrm>
            <a:off x="5449663" y="1431375"/>
            <a:ext cx="385737" cy="503590"/>
          </a:xfrm>
          <a:prstGeom prst="rect">
            <a:avLst/>
          </a:prstGeom>
          <a:noFill/>
        </p:spPr>
        <p:txBody>
          <a:bodyPr wrap="square" lIns="36000" tIns="36000" rIns="36000" bIns="36000" rtlCol="0">
            <a:spAutoFit/>
          </a:bodyPr>
          <a:lstStyle/>
          <a:p>
            <a:r>
              <a:rPr lang="en-US" sz="2800" b="1" dirty="0">
                <a:solidFill>
                  <a:schemeClr val="accent4">
                    <a:lumMod val="60000"/>
                    <a:lumOff val="40000"/>
                  </a:schemeClr>
                </a:solidFill>
              </a:rPr>
              <a:t>3</a:t>
            </a:r>
          </a:p>
        </p:txBody>
      </p:sp>
      <p:sp>
        <p:nvSpPr>
          <p:cNvPr id="8" name="Rectangle 7"/>
          <p:cNvSpPr/>
          <p:nvPr/>
        </p:nvSpPr>
        <p:spPr>
          <a:xfrm>
            <a:off x="2455241" y="1997619"/>
            <a:ext cx="2007280" cy="230832"/>
          </a:xfrm>
          <a:prstGeom prst="rect">
            <a:avLst/>
          </a:prstGeom>
        </p:spPr>
        <p:txBody>
          <a:bodyPr wrap="none">
            <a:spAutoFit/>
          </a:bodyPr>
          <a:lstStyle/>
          <a:p>
            <a:pPr marL="0" lvl="2" algn="ctr">
              <a:spcBef>
                <a:spcPts val="600"/>
              </a:spcBef>
              <a:buSzPct val="100000"/>
            </a:pPr>
            <a:r>
              <a:rPr lang="es-CO" sz="900" b="1" dirty="0">
                <a:solidFill>
                  <a:schemeClr val="accent4"/>
                </a:solidFill>
              </a:rPr>
              <a:t>PRÓRROGA DE LA LICENCIA</a:t>
            </a:r>
          </a:p>
        </p:txBody>
      </p:sp>
      <p:sp>
        <p:nvSpPr>
          <p:cNvPr id="10" name="Rectangle 9"/>
          <p:cNvSpPr/>
          <p:nvPr/>
        </p:nvSpPr>
        <p:spPr>
          <a:xfrm>
            <a:off x="4534696" y="1970991"/>
            <a:ext cx="2215670" cy="230832"/>
          </a:xfrm>
          <a:prstGeom prst="rect">
            <a:avLst/>
          </a:prstGeom>
        </p:spPr>
        <p:txBody>
          <a:bodyPr wrap="none">
            <a:spAutoFit/>
          </a:bodyPr>
          <a:lstStyle/>
          <a:p>
            <a:pPr marL="0" lvl="2" algn="ctr">
              <a:spcBef>
                <a:spcPts val="600"/>
              </a:spcBef>
              <a:buSzPct val="100000"/>
            </a:pPr>
            <a:r>
              <a:rPr lang="es-CO" sz="900" b="1" dirty="0">
                <a:solidFill>
                  <a:schemeClr val="accent4">
                    <a:lumMod val="60000"/>
                    <a:lumOff val="40000"/>
                  </a:schemeClr>
                </a:solidFill>
              </a:rPr>
              <a:t>REGISTRO CADENAS RADIALES</a:t>
            </a:r>
          </a:p>
        </p:txBody>
      </p:sp>
      <p:sp>
        <p:nvSpPr>
          <p:cNvPr id="25" name="Diagonal Stripe 24"/>
          <p:cNvSpPr/>
          <p:nvPr/>
        </p:nvSpPr>
        <p:spPr>
          <a:xfrm>
            <a:off x="2566264" y="2525243"/>
            <a:ext cx="180000" cy="180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2566264" y="2339116"/>
            <a:ext cx="180000" cy="180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7" name="Diagonal Stripe 26"/>
          <p:cNvSpPr/>
          <p:nvPr/>
        </p:nvSpPr>
        <p:spPr>
          <a:xfrm>
            <a:off x="4742970" y="2505474"/>
            <a:ext cx="180000" cy="180000"/>
          </a:xfrm>
          <a:prstGeom prst="diagStripe">
            <a:avLst/>
          </a:prstGeom>
          <a:solidFill>
            <a:srgbClr val="0055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8" name="Diagonal Stripe 27"/>
          <p:cNvSpPr/>
          <p:nvPr/>
        </p:nvSpPr>
        <p:spPr>
          <a:xfrm flipV="1">
            <a:off x="4742970" y="2318419"/>
            <a:ext cx="180000" cy="180000"/>
          </a:xfrm>
          <a:prstGeom prst="diagStripe">
            <a:avLst/>
          </a:pr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Rectangle 31"/>
          <p:cNvSpPr/>
          <p:nvPr/>
        </p:nvSpPr>
        <p:spPr>
          <a:xfrm>
            <a:off x="4877201" y="4779207"/>
            <a:ext cx="1800000" cy="1277273"/>
          </a:xfrm>
          <a:prstGeom prst="rect">
            <a:avLst/>
          </a:prstGeom>
          <a:ln>
            <a:noFill/>
          </a:ln>
        </p:spPr>
        <p:txBody>
          <a:bodyPr wrap="square">
            <a:spAutoFit/>
          </a:bodyPr>
          <a:lstStyle/>
          <a:p>
            <a:pPr marL="0" lvl="2">
              <a:spcBef>
                <a:spcPts val="600"/>
              </a:spcBef>
              <a:buSzPct val="100000"/>
            </a:pPr>
            <a:r>
              <a:rPr lang="es-CO" altLang="ja-JP" sz="900" b="1" dirty="0">
                <a:solidFill>
                  <a:schemeClr val="tx1">
                    <a:lumMod val="85000"/>
                    <a:lumOff val="15000"/>
                  </a:schemeClr>
                </a:solidFill>
                <a:ea typeface="ＭＳ Ｐゴシック" pitchFamily="50" charset="-128"/>
              </a:rPr>
              <a:t>¿Cuándo?</a:t>
            </a:r>
            <a:endParaRPr lang="en-US" altLang="ja-JP" sz="900" b="1" dirty="0">
              <a:solidFill>
                <a:schemeClr val="tx1">
                  <a:lumMod val="85000"/>
                  <a:lumOff val="15000"/>
                </a:schemeClr>
              </a:solidFill>
              <a:ea typeface="ＭＳ Ｐゴシック" pitchFamily="50" charset="-128"/>
            </a:endParaRPr>
          </a:p>
          <a:p>
            <a:pPr marL="0" lvl="2">
              <a:spcBef>
                <a:spcPts val="600"/>
              </a:spcBef>
              <a:buSzPct val="100000"/>
            </a:pPr>
            <a:r>
              <a:rPr lang="es-CO" sz="900" dirty="0"/>
              <a:t>Dentro de los treinta (30) días calendario siguientes a la ejecutoría del acto administrativo de registro.</a:t>
            </a:r>
          </a:p>
        </p:txBody>
      </p:sp>
      <p:sp>
        <p:nvSpPr>
          <p:cNvPr id="33" name="Diagonal Stripe 32"/>
          <p:cNvSpPr/>
          <p:nvPr/>
        </p:nvSpPr>
        <p:spPr>
          <a:xfrm>
            <a:off x="4742970" y="4895654"/>
            <a:ext cx="180000" cy="180000"/>
          </a:xfrm>
          <a:prstGeom prst="diagStripe">
            <a:avLst/>
          </a:prstGeom>
          <a:solidFill>
            <a:srgbClr val="62626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Diagonal Stripe 33"/>
          <p:cNvSpPr/>
          <p:nvPr/>
        </p:nvSpPr>
        <p:spPr>
          <a:xfrm flipV="1">
            <a:off x="4742970" y="4708599"/>
            <a:ext cx="180000" cy="180000"/>
          </a:xfrm>
          <a:prstGeom prst="diagStripe">
            <a:avLst/>
          </a:prstGeom>
          <a:solidFill>
            <a:srgbClr val="3A3A3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2726358" y="4779207"/>
            <a:ext cx="1800000" cy="1415772"/>
          </a:xfrm>
          <a:prstGeom prst="rect">
            <a:avLst/>
          </a:prstGeom>
        </p:spPr>
        <p:txBody>
          <a:bodyPr wrap="square">
            <a:spAutoFit/>
          </a:bodyPr>
          <a:lstStyle/>
          <a:p>
            <a:pPr marL="0" lvl="2">
              <a:spcBef>
                <a:spcPts val="600"/>
              </a:spcBef>
              <a:buSzPct val="100000"/>
            </a:pPr>
            <a:r>
              <a:rPr lang="es-CO" altLang="ja-JP" sz="900" b="1" dirty="0">
                <a:solidFill>
                  <a:schemeClr val="bg2">
                    <a:lumMod val="25000"/>
                  </a:schemeClr>
                </a:solidFill>
                <a:ea typeface="ＭＳ Ｐゴシック" pitchFamily="50" charset="-128"/>
              </a:rPr>
              <a:t>¿Cuándo?</a:t>
            </a:r>
            <a:endParaRPr lang="en-US" altLang="ja-JP" sz="900" b="1" dirty="0">
              <a:solidFill>
                <a:schemeClr val="bg2">
                  <a:lumMod val="25000"/>
                </a:schemeClr>
              </a:solidFill>
              <a:ea typeface="ＭＳ Ｐゴシック" pitchFamily="50" charset="-128"/>
            </a:endParaRPr>
          </a:p>
          <a:p>
            <a:pPr marL="0" lvl="2">
              <a:spcBef>
                <a:spcPts val="600"/>
              </a:spcBef>
              <a:buSzPct val="100000"/>
            </a:pPr>
            <a:r>
              <a:rPr lang="es-ES" sz="900" dirty="0"/>
              <a:t>Dentro de los treinta (30) días calendario siguientes a la notificación del acto administrativo que prorrogue la concesión.</a:t>
            </a:r>
          </a:p>
        </p:txBody>
      </p:sp>
      <p:sp>
        <p:nvSpPr>
          <p:cNvPr id="37" name="Diagonal Stripe 36"/>
          <p:cNvSpPr/>
          <p:nvPr/>
        </p:nvSpPr>
        <p:spPr>
          <a:xfrm>
            <a:off x="2566264" y="4914495"/>
            <a:ext cx="180000" cy="180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2566264" y="4728368"/>
            <a:ext cx="180000" cy="180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sp>
        <p:nvSpPr>
          <p:cNvPr id="23" name="Rectangle 22"/>
          <p:cNvSpPr/>
          <p:nvPr/>
        </p:nvSpPr>
        <p:spPr>
          <a:xfrm>
            <a:off x="477028" y="4779207"/>
            <a:ext cx="1800000" cy="1692771"/>
          </a:xfrm>
          <a:prstGeom prst="rect">
            <a:avLst/>
          </a:prstGeom>
          <a:ln>
            <a:noFill/>
          </a:ln>
        </p:spPr>
        <p:txBody>
          <a:bodyPr wrap="square">
            <a:spAutoFit/>
          </a:bodyPr>
          <a:lstStyle/>
          <a:p>
            <a:pPr marL="0" lvl="2">
              <a:spcBef>
                <a:spcPts val="600"/>
              </a:spcBef>
              <a:buSzPct val="100000"/>
            </a:pPr>
            <a:r>
              <a:rPr lang="es-CO" altLang="ja-JP" sz="900" b="1" dirty="0">
                <a:solidFill>
                  <a:schemeClr val="accent6">
                    <a:lumMod val="75000"/>
                  </a:schemeClr>
                </a:solidFill>
                <a:ea typeface="ＭＳ Ｐゴシック" pitchFamily="50" charset="-128"/>
              </a:rPr>
              <a:t>¿Cuándo?</a:t>
            </a:r>
            <a:endParaRPr lang="en-US" altLang="ja-JP" sz="900" b="1" dirty="0">
              <a:solidFill>
                <a:schemeClr val="accent6">
                  <a:lumMod val="75000"/>
                </a:schemeClr>
              </a:solidFill>
              <a:ea typeface="ＭＳ Ｐゴシック" pitchFamily="50" charset="-128"/>
            </a:endParaRPr>
          </a:p>
          <a:p>
            <a:pPr marL="0" lvl="2">
              <a:spcBef>
                <a:spcPts val="600"/>
              </a:spcBef>
              <a:buSzPct val="100000"/>
            </a:pPr>
            <a:r>
              <a:rPr lang="es-ES" sz="900" dirty="0"/>
              <a:t>Dentro de lo treinta (30) días calendario siguientes a la notificación del acto que decrete la viabilidad de la concesión para la prestación del servicio de radiodifusión sonora.</a:t>
            </a:r>
            <a:endParaRPr lang="en-US" sz="900" dirty="0"/>
          </a:p>
        </p:txBody>
      </p:sp>
      <p:sp>
        <p:nvSpPr>
          <p:cNvPr id="24" name="TextBox 23"/>
          <p:cNvSpPr txBox="1"/>
          <p:nvPr/>
        </p:nvSpPr>
        <p:spPr>
          <a:xfrm>
            <a:off x="1111859" y="1424384"/>
            <a:ext cx="385737" cy="503590"/>
          </a:xfrm>
          <a:prstGeom prst="rect">
            <a:avLst/>
          </a:prstGeom>
          <a:noFill/>
        </p:spPr>
        <p:txBody>
          <a:bodyPr wrap="square" lIns="36000" tIns="36000" rIns="36000" bIns="36000" rtlCol="0">
            <a:spAutoFit/>
          </a:bodyPr>
          <a:lstStyle/>
          <a:p>
            <a:r>
              <a:rPr lang="es-CO" sz="2800" b="1" dirty="0">
                <a:solidFill>
                  <a:srgbClr val="009A44"/>
                </a:solidFill>
              </a:rPr>
              <a:t>1</a:t>
            </a:r>
            <a:endParaRPr lang="en-US" sz="2800" b="1" dirty="0">
              <a:solidFill>
                <a:srgbClr val="009A44"/>
              </a:solidFill>
            </a:endParaRPr>
          </a:p>
        </p:txBody>
      </p:sp>
      <p:sp>
        <p:nvSpPr>
          <p:cNvPr id="29" name="Rectangle 28"/>
          <p:cNvSpPr/>
          <p:nvPr/>
        </p:nvSpPr>
        <p:spPr>
          <a:xfrm>
            <a:off x="233761" y="1981835"/>
            <a:ext cx="2141933" cy="230832"/>
          </a:xfrm>
          <a:prstGeom prst="rect">
            <a:avLst/>
          </a:prstGeom>
        </p:spPr>
        <p:txBody>
          <a:bodyPr wrap="none">
            <a:spAutoFit/>
          </a:bodyPr>
          <a:lstStyle/>
          <a:p>
            <a:pPr marL="0" lvl="2" algn="ctr">
              <a:spcBef>
                <a:spcPts val="600"/>
              </a:spcBef>
              <a:buSzPct val="100000"/>
            </a:pPr>
            <a:r>
              <a:rPr lang="es-CO" sz="900" b="1" dirty="0">
                <a:solidFill>
                  <a:srgbClr val="009A44"/>
                </a:solidFill>
              </a:rPr>
              <a:t>OTORGAMIENTO DE LICENCIA</a:t>
            </a:r>
          </a:p>
        </p:txBody>
      </p:sp>
      <p:sp>
        <p:nvSpPr>
          <p:cNvPr id="30" name="Rectangle 29"/>
          <p:cNvSpPr/>
          <p:nvPr/>
        </p:nvSpPr>
        <p:spPr>
          <a:xfrm>
            <a:off x="477028" y="2381928"/>
            <a:ext cx="1800000" cy="2323713"/>
          </a:xfrm>
          <a:prstGeom prst="rect">
            <a:avLst/>
          </a:prstGeom>
        </p:spPr>
        <p:txBody>
          <a:bodyPr wrap="square">
            <a:spAutoFit/>
          </a:bodyPr>
          <a:lstStyle/>
          <a:p>
            <a:pPr marL="0" lvl="2">
              <a:spcBef>
                <a:spcPts val="600"/>
              </a:spcBef>
              <a:buSzPct val="100000"/>
            </a:pPr>
            <a:r>
              <a:rPr lang="es-CO" altLang="ja-JP" sz="900" b="1" dirty="0">
                <a:solidFill>
                  <a:srgbClr val="009A44"/>
                </a:solidFill>
              </a:rPr>
              <a:t>¿Cómo?</a:t>
            </a:r>
          </a:p>
          <a:p>
            <a:pPr marL="0" lvl="2">
              <a:spcBef>
                <a:spcPts val="600"/>
              </a:spcBef>
              <a:buSzPct val="100000"/>
            </a:pPr>
            <a:r>
              <a:rPr lang="es-ES" sz="900" dirty="0"/>
              <a:t>Pagar una contraprestación no reembolsable, a favor del FONTIC, equivalente a tres (3) salarios mínimos mensuales vigentes.</a:t>
            </a:r>
          </a:p>
          <a:p>
            <a:pPr marL="0" lvl="2">
              <a:spcBef>
                <a:spcPts val="600"/>
              </a:spcBef>
              <a:buSzPct val="100000"/>
            </a:pPr>
            <a:r>
              <a:rPr lang="es-ES" sz="900" dirty="0"/>
              <a:t>La radiodifusión sonora </a:t>
            </a:r>
            <a:r>
              <a:rPr lang="es-ES" sz="900" b="1" dirty="0"/>
              <a:t>comercial </a:t>
            </a:r>
            <a:r>
              <a:rPr lang="es-ES" sz="900" dirty="0"/>
              <a:t>efectuará, además, un pago adicional de acuerdo con la metodología que defina el MINTIC. </a:t>
            </a:r>
            <a:endParaRPr lang="es-ES" sz="900" b="1" dirty="0"/>
          </a:p>
        </p:txBody>
      </p:sp>
      <p:sp>
        <p:nvSpPr>
          <p:cNvPr id="31" name="Diagonal Stripe 30"/>
          <p:cNvSpPr/>
          <p:nvPr/>
        </p:nvSpPr>
        <p:spPr>
          <a:xfrm>
            <a:off x="356386" y="2501959"/>
            <a:ext cx="180000"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Diagonal Stripe 34"/>
          <p:cNvSpPr/>
          <p:nvPr/>
        </p:nvSpPr>
        <p:spPr>
          <a:xfrm flipV="1">
            <a:off x="356209" y="2314904"/>
            <a:ext cx="180000"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Diagonal Stripe 35"/>
          <p:cNvSpPr/>
          <p:nvPr/>
        </p:nvSpPr>
        <p:spPr>
          <a:xfrm>
            <a:off x="301273" y="4895633"/>
            <a:ext cx="180000" cy="180000"/>
          </a:xfrm>
          <a:prstGeom prst="diagStripe">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0" name="Diagonal Stripe 39"/>
          <p:cNvSpPr/>
          <p:nvPr/>
        </p:nvSpPr>
        <p:spPr>
          <a:xfrm flipV="1">
            <a:off x="301096" y="4708578"/>
            <a:ext cx="180000" cy="180000"/>
          </a:xfrm>
          <a:prstGeom prst="diagStrip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pic>
        <p:nvPicPr>
          <p:cNvPr id="48" name="Picture 47"/>
          <p:cNvPicPr>
            <a:picLocks noChangeAspect="1"/>
          </p:cNvPicPr>
          <p:nvPr/>
        </p:nvPicPr>
        <p:blipFill>
          <a:blip r:embed="rId3"/>
          <a:stretch>
            <a:fillRect/>
          </a:stretch>
        </p:blipFill>
        <p:spPr>
          <a:xfrm>
            <a:off x="7804762" y="0"/>
            <a:ext cx="1237595" cy="1274174"/>
          </a:xfrm>
          <a:prstGeom prst="rect">
            <a:avLst/>
          </a:prstGeom>
        </p:spPr>
      </p:pic>
      <p:sp>
        <p:nvSpPr>
          <p:cNvPr id="49" name="Freeform 640"/>
          <p:cNvSpPr>
            <a:spLocks noEditPoints="1"/>
          </p:cNvSpPr>
          <p:nvPr/>
        </p:nvSpPr>
        <p:spPr bwMode="auto">
          <a:xfrm>
            <a:off x="8129664" y="357519"/>
            <a:ext cx="612000" cy="504000"/>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 name="Rectangle 2"/>
          <p:cNvSpPr/>
          <p:nvPr/>
        </p:nvSpPr>
        <p:spPr>
          <a:xfrm>
            <a:off x="7510325" y="1420537"/>
            <a:ext cx="439544" cy="523220"/>
          </a:xfrm>
          <a:prstGeom prst="rect">
            <a:avLst/>
          </a:prstGeom>
        </p:spPr>
        <p:txBody>
          <a:bodyPr wrap="none">
            <a:spAutoFit/>
          </a:bodyPr>
          <a:lstStyle/>
          <a:p>
            <a:r>
              <a:rPr lang="en-US" sz="2800" b="1" dirty="0">
                <a:solidFill>
                  <a:srgbClr val="2C5234"/>
                </a:solidFill>
              </a:rPr>
              <a:t>4</a:t>
            </a:r>
            <a:endParaRPr lang="en-US" sz="2800" b="1" dirty="0">
              <a:solidFill>
                <a:schemeClr val="accent4">
                  <a:lumMod val="60000"/>
                  <a:lumOff val="40000"/>
                </a:schemeClr>
              </a:solidFill>
            </a:endParaRPr>
          </a:p>
        </p:txBody>
      </p:sp>
      <p:sp>
        <p:nvSpPr>
          <p:cNvPr id="4" name="Rectangle 3"/>
          <p:cNvSpPr/>
          <p:nvPr/>
        </p:nvSpPr>
        <p:spPr>
          <a:xfrm>
            <a:off x="6792450" y="1901741"/>
            <a:ext cx="1875294" cy="369332"/>
          </a:xfrm>
          <a:prstGeom prst="rect">
            <a:avLst/>
          </a:prstGeom>
        </p:spPr>
        <p:txBody>
          <a:bodyPr wrap="square">
            <a:spAutoFit/>
          </a:bodyPr>
          <a:lstStyle/>
          <a:p>
            <a:pPr marL="0" lvl="2" algn="ctr">
              <a:spcBef>
                <a:spcPts val="600"/>
              </a:spcBef>
              <a:buSzPct val="100000"/>
            </a:pPr>
            <a:r>
              <a:rPr lang="es-CO" sz="900" b="1" dirty="0">
                <a:solidFill>
                  <a:srgbClr val="2C5234"/>
                </a:solidFill>
              </a:rPr>
              <a:t>PAGO ANUAL POR EL</a:t>
            </a:r>
            <a:br>
              <a:rPr lang="es-CO" sz="900" b="1" dirty="0">
                <a:solidFill>
                  <a:srgbClr val="2C5234"/>
                </a:solidFill>
              </a:rPr>
            </a:br>
            <a:r>
              <a:rPr lang="es-CO" sz="900" b="1" dirty="0">
                <a:solidFill>
                  <a:srgbClr val="2C5234"/>
                </a:solidFill>
              </a:rPr>
              <a:t>USO DEL ESPECTRO </a:t>
            </a:r>
          </a:p>
        </p:txBody>
      </p:sp>
      <p:sp>
        <p:nvSpPr>
          <p:cNvPr id="41" name="Rectangle 40"/>
          <p:cNvSpPr/>
          <p:nvPr/>
        </p:nvSpPr>
        <p:spPr>
          <a:xfrm>
            <a:off x="6935862" y="2381928"/>
            <a:ext cx="1800000" cy="1338828"/>
          </a:xfrm>
          <a:prstGeom prst="rect">
            <a:avLst/>
          </a:prstGeom>
          <a:ln>
            <a:noFill/>
          </a:ln>
        </p:spPr>
        <p:txBody>
          <a:bodyPr wrap="square">
            <a:spAutoFit/>
          </a:bodyPr>
          <a:lstStyle/>
          <a:p>
            <a:pPr marL="0" lvl="2">
              <a:spcBef>
                <a:spcPts val="600"/>
              </a:spcBef>
              <a:buSzPct val="100000"/>
            </a:pPr>
            <a:r>
              <a:rPr lang="es-CO" altLang="ja-JP" sz="900" b="1" dirty="0">
                <a:solidFill>
                  <a:srgbClr val="2C5234"/>
                </a:solidFill>
              </a:rPr>
              <a:t>¿Cómo?</a:t>
            </a:r>
          </a:p>
          <a:p>
            <a:endParaRPr lang="es-CO" sz="900" dirty="0"/>
          </a:p>
          <a:p>
            <a:r>
              <a:rPr lang="es-CO" sz="900" dirty="0"/>
              <a:t>Autoliquidar y pagar los derechos de uso del espectro asociados a la concesión del servicio. </a:t>
            </a:r>
          </a:p>
        </p:txBody>
      </p:sp>
      <p:sp>
        <p:nvSpPr>
          <p:cNvPr id="42" name="Diagonal Stripe 41"/>
          <p:cNvSpPr/>
          <p:nvPr/>
        </p:nvSpPr>
        <p:spPr>
          <a:xfrm>
            <a:off x="6792450" y="2511490"/>
            <a:ext cx="180000"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3" name="Diagonal Stripe 42"/>
          <p:cNvSpPr/>
          <p:nvPr/>
        </p:nvSpPr>
        <p:spPr>
          <a:xfrm flipV="1">
            <a:off x="6792450" y="2307493"/>
            <a:ext cx="180000" cy="180000"/>
          </a:xfrm>
          <a:prstGeom prst="diagStripe">
            <a:avLst/>
          </a:prstGeom>
          <a:solidFill>
            <a:srgbClr val="2C523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4" name="Diagonal Stripe 43"/>
          <p:cNvSpPr/>
          <p:nvPr/>
        </p:nvSpPr>
        <p:spPr>
          <a:xfrm>
            <a:off x="6779176" y="4902915"/>
            <a:ext cx="180000" cy="180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5" name="Diagonal Stripe 44"/>
          <p:cNvSpPr/>
          <p:nvPr/>
        </p:nvSpPr>
        <p:spPr>
          <a:xfrm flipV="1">
            <a:off x="6779176" y="4715860"/>
            <a:ext cx="180000" cy="180000"/>
          </a:xfrm>
          <a:prstGeom prst="diagStripe">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 name="Rectangle 4"/>
          <p:cNvSpPr/>
          <p:nvPr/>
        </p:nvSpPr>
        <p:spPr>
          <a:xfrm>
            <a:off x="6935862" y="4779207"/>
            <a:ext cx="1800000" cy="1754326"/>
          </a:xfrm>
          <a:prstGeom prst="rect">
            <a:avLst/>
          </a:prstGeom>
        </p:spPr>
        <p:txBody>
          <a:bodyPr wrap="square">
            <a:spAutoFit/>
          </a:bodyPr>
          <a:lstStyle/>
          <a:p>
            <a:pPr marL="0" lvl="2">
              <a:buSzPct val="100000"/>
            </a:pPr>
            <a:r>
              <a:rPr lang="es-CO" altLang="ja-JP" sz="900" b="1" dirty="0">
                <a:solidFill>
                  <a:srgbClr val="000000"/>
                </a:solidFill>
                <a:ea typeface="ＭＳ Ｐゴシック" pitchFamily="50" charset="-128"/>
              </a:rPr>
              <a:t>¿Cuándo?</a:t>
            </a:r>
            <a:endParaRPr lang="en-US" altLang="ja-JP" sz="900" b="1" dirty="0">
              <a:solidFill>
                <a:srgbClr val="000000"/>
              </a:solidFill>
              <a:ea typeface="ＭＳ Ｐゴシック" pitchFamily="50" charset="-128"/>
            </a:endParaRPr>
          </a:p>
          <a:p>
            <a:pPr marL="0" lvl="2">
              <a:buSzPct val="100000"/>
            </a:pPr>
            <a:r>
              <a:rPr lang="es-CO" sz="900" dirty="0"/>
              <a:t>Anualmente, de manera anticipada, dentro de los tres (3) primeros meses de cada año. </a:t>
            </a:r>
          </a:p>
          <a:p>
            <a:pPr marL="0" lvl="2">
              <a:buSzPct val="100000"/>
            </a:pPr>
            <a:endParaRPr lang="es-CO" sz="900" dirty="0"/>
          </a:p>
          <a:p>
            <a:pPr marL="0" lvl="2">
              <a:buSzPct val="100000"/>
            </a:pPr>
            <a:r>
              <a:rPr lang="es-CO" sz="900" dirty="0"/>
              <a:t>Los concesionarios comunitarios, para el pago del año 2017, tienen plazo máximo hasta el 31 de julio de 2017.</a:t>
            </a:r>
          </a:p>
        </p:txBody>
      </p:sp>
    </p:spTree>
    <p:extLst>
      <p:ext uri="{BB962C8B-B14F-4D97-AF65-F5344CB8AC3E}">
        <p14:creationId xmlns:p14="http://schemas.microsoft.com/office/powerpoint/2010/main" val="40055738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p:cNvSpPr/>
          <p:nvPr/>
        </p:nvSpPr>
        <p:spPr>
          <a:xfrm>
            <a:off x="3251251" y="2146162"/>
            <a:ext cx="3407127" cy="1300356"/>
          </a:xfrm>
          <a:prstGeom prst="rect">
            <a:avLst/>
          </a:prstGeom>
          <a:ln>
            <a:noFill/>
          </a:ln>
        </p:spPr>
        <p:txBody>
          <a:bodyPr wrap="square">
            <a:spAutoFit/>
          </a:bodyPr>
          <a:lstStyle/>
          <a:p>
            <a:pPr marL="0" lvl="2">
              <a:spcBef>
                <a:spcPts val="600"/>
              </a:spcBef>
              <a:buSzPct val="100000"/>
            </a:pPr>
            <a:r>
              <a:rPr lang="es-CO" altLang="ja-JP" sz="1050" b="1" dirty="0">
                <a:solidFill>
                  <a:srgbClr val="009A44"/>
                </a:solidFill>
              </a:rPr>
              <a:t>¿Cómo?</a:t>
            </a:r>
            <a:endParaRPr lang="es-CO" altLang="ja-JP" sz="1050" b="1" dirty="0">
              <a:solidFill>
                <a:srgbClr val="009A44"/>
              </a:solidFill>
              <a:ea typeface="ＭＳ Ｐゴシック" pitchFamily="50" charset="-128"/>
            </a:endParaRPr>
          </a:p>
          <a:p>
            <a:pPr marL="0" lvl="2">
              <a:spcBef>
                <a:spcPts val="600"/>
              </a:spcBef>
              <a:buSzPct val="100000"/>
            </a:pPr>
            <a:r>
              <a:rPr lang="es-CO" sz="1050" dirty="0"/>
              <a:t>Conservar a disposición de las autoridades, por lo menos durante treinta (30) días, la grabación completa o los originales escritos, firmados por su director, de los programas periodísticos, informativos y discursos que se transmitan.</a:t>
            </a:r>
          </a:p>
        </p:txBody>
      </p:sp>
      <p:sp>
        <p:nvSpPr>
          <p:cNvPr id="17" name="Rectangle 16"/>
          <p:cNvSpPr/>
          <p:nvPr/>
        </p:nvSpPr>
        <p:spPr>
          <a:xfrm>
            <a:off x="1755400" y="366704"/>
            <a:ext cx="5649152" cy="1200329"/>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Conservar las grabaciones de programas informativos, periodísticos y discursos</a:t>
            </a:r>
          </a:p>
          <a:p>
            <a:pPr algn="ctr">
              <a:spcBef>
                <a:spcPct val="0"/>
              </a:spcBef>
            </a:pPr>
            <a:r>
              <a:rPr lang="es-CO" sz="1200" b="1" dirty="0">
                <a:ea typeface="Open Sans" panose="020B0606030504020204" pitchFamily="34" charset="0"/>
                <a:cs typeface="Open Sans" panose="020B0606030504020204" pitchFamily="34" charset="0"/>
              </a:rPr>
              <a:t>Todos los Concesionarios</a:t>
            </a:r>
          </a:p>
        </p:txBody>
      </p:sp>
      <p:sp>
        <p:nvSpPr>
          <p:cNvPr id="21" name="Rectangle 20"/>
          <p:cNvSpPr/>
          <p:nvPr/>
        </p:nvSpPr>
        <p:spPr>
          <a:xfrm>
            <a:off x="3226500" y="3671559"/>
            <a:ext cx="3431877" cy="507831"/>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CO" sz="1050" dirty="0"/>
              <a:t>Permanente.</a:t>
            </a:r>
          </a:p>
        </p:txBody>
      </p:sp>
      <p:sp>
        <p:nvSpPr>
          <p:cNvPr id="37" name="Diagonal Stripe 36"/>
          <p:cNvSpPr/>
          <p:nvPr/>
        </p:nvSpPr>
        <p:spPr>
          <a:xfrm>
            <a:off x="2912636" y="3838423"/>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2918999" y="3519443"/>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3"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sp>
        <p:nvSpPr>
          <p:cNvPr id="22" name="Diagonal Stripe 21"/>
          <p:cNvSpPr/>
          <p:nvPr/>
        </p:nvSpPr>
        <p:spPr>
          <a:xfrm>
            <a:off x="2912636" y="2306584"/>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3" name="Diagonal Stripe 22"/>
          <p:cNvSpPr/>
          <p:nvPr/>
        </p:nvSpPr>
        <p:spPr>
          <a:xfrm flipV="1">
            <a:off x="2912459" y="1986676"/>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pic>
        <p:nvPicPr>
          <p:cNvPr id="24" name="Picture 23"/>
          <p:cNvPicPr>
            <a:picLocks noChangeAspect="1"/>
          </p:cNvPicPr>
          <p:nvPr/>
        </p:nvPicPr>
        <p:blipFill>
          <a:blip r:embed="rId4"/>
          <a:stretch>
            <a:fillRect/>
          </a:stretch>
        </p:blipFill>
        <p:spPr>
          <a:xfrm>
            <a:off x="7804762" y="0"/>
            <a:ext cx="1237595" cy="1274174"/>
          </a:xfrm>
          <a:prstGeom prst="rect">
            <a:avLst/>
          </a:prstGeom>
        </p:spPr>
      </p:pic>
      <p:sp>
        <p:nvSpPr>
          <p:cNvPr id="27" name="Freeform 631"/>
          <p:cNvSpPr>
            <a:spLocks noChangeAspect="1" noEditPoints="1"/>
          </p:cNvSpPr>
          <p:nvPr/>
        </p:nvSpPr>
        <p:spPr bwMode="auto">
          <a:xfrm>
            <a:off x="7941319" y="130152"/>
            <a:ext cx="1008000" cy="1008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32224098"/>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98203" y="2478787"/>
            <a:ext cx="2232000" cy="1300356"/>
          </a:xfrm>
          <a:prstGeom prst="rect">
            <a:avLst/>
          </a:prstGeom>
          <a:ln>
            <a:noFill/>
          </a:ln>
        </p:spPr>
        <p:txBody>
          <a:bodyPr wrap="square">
            <a:spAutoFit/>
          </a:bodyPr>
          <a:lstStyle/>
          <a:p>
            <a:pPr marL="0" lvl="2">
              <a:spcBef>
                <a:spcPts val="600"/>
              </a:spcBef>
              <a:buSzPct val="100000"/>
            </a:pPr>
            <a:r>
              <a:rPr lang="es-CO" altLang="ja-JP" sz="1050" b="1" dirty="0">
                <a:solidFill>
                  <a:schemeClr val="accent4"/>
                </a:solidFill>
              </a:rPr>
              <a:t>¿Cómo?</a:t>
            </a:r>
            <a:endParaRPr lang="es-CO" altLang="ja-JP" sz="1050" b="1" dirty="0">
              <a:solidFill>
                <a:schemeClr val="accent4"/>
              </a:solidFill>
              <a:ea typeface="ＭＳ Ｐゴシック" pitchFamily="50" charset="-128"/>
            </a:endParaRPr>
          </a:p>
          <a:p>
            <a:pPr marL="0" lvl="2">
              <a:spcBef>
                <a:spcPts val="600"/>
              </a:spcBef>
              <a:buSzPct val="100000"/>
            </a:pPr>
            <a:r>
              <a:rPr lang="es-CO" sz="1050" dirty="0"/>
              <a:t>Diseñar y organizar la programación que se divulgue al público, con sujeción a la clase de servicio que ha sido autorizado.</a:t>
            </a:r>
          </a:p>
        </p:txBody>
      </p:sp>
      <p:sp>
        <p:nvSpPr>
          <p:cNvPr id="17" name="Rectangle 16"/>
          <p:cNvSpPr/>
          <p:nvPr/>
        </p:nvSpPr>
        <p:spPr>
          <a:xfrm>
            <a:off x="1831884" y="366704"/>
            <a:ext cx="5566964" cy="892552"/>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Diseñar y orientar la programación de acuerdo con el servicio autorizado</a:t>
            </a:r>
          </a:p>
          <a:p>
            <a:pPr algn="ctr">
              <a:spcBef>
                <a:spcPct val="0"/>
              </a:spcBef>
            </a:pPr>
            <a:r>
              <a:rPr lang="es-CO" sz="1200" b="1" dirty="0">
                <a:ea typeface="Open Sans" panose="020B0606030504020204" pitchFamily="34" charset="0"/>
                <a:cs typeface="Open Sans" panose="020B0606030504020204" pitchFamily="34" charset="0"/>
              </a:rPr>
              <a:t>Todos los Concesionarios</a:t>
            </a:r>
          </a:p>
        </p:txBody>
      </p:sp>
      <p:sp>
        <p:nvSpPr>
          <p:cNvPr id="21" name="Rectangle 20"/>
          <p:cNvSpPr/>
          <p:nvPr/>
        </p:nvSpPr>
        <p:spPr>
          <a:xfrm>
            <a:off x="598204" y="5590258"/>
            <a:ext cx="2232000" cy="507831"/>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CO" sz="1050" dirty="0"/>
              <a:t>Permanente.</a:t>
            </a: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sp>
        <p:nvSpPr>
          <p:cNvPr id="11" name="Rectangle 10"/>
          <p:cNvSpPr/>
          <p:nvPr/>
        </p:nvSpPr>
        <p:spPr>
          <a:xfrm>
            <a:off x="3175939" y="2478787"/>
            <a:ext cx="2587187" cy="2754600"/>
          </a:xfrm>
          <a:prstGeom prst="rect">
            <a:avLst/>
          </a:prstGeom>
          <a:ln>
            <a:noFill/>
          </a:ln>
        </p:spPr>
        <p:txBody>
          <a:bodyPr wrap="square">
            <a:spAutoFit/>
          </a:bodyPr>
          <a:lstStyle/>
          <a:p>
            <a:pPr marL="0" lvl="2">
              <a:spcBef>
                <a:spcPts val="600"/>
              </a:spcBef>
              <a:buSzPct val="100000"/>
            </a:pPr>
            <a:r>
              <a:rPr lang="es-CO" altLang="ja-JP" sz="1050" b="1" dirty="0">
                <a:solidFill>
                  <a:srgbClr val="046A38"/>
                </a:solidFill>
              </a:rPr>
              <a:t>¿Cómo?</a:t>
            </a:r>
            <a:endParaRPr lang="es-CO" altLang="ja-JP" sz="1050" b="1" dirty="0">
              <a:solidFill>
                <a:srgbClr val="046A38"/>
              </a:solidFill>
              <a:ea typeface="ＭＳ Ｐゴシック" pitchFamily="50" charset="-128"/>
            </a:endParaRPr>
          </a:p>
          <a:p>
            <a:pPr marL="0" lvl="2">
              <a:spcBef>
                <a:spcPts val="600"/>
              </a:spcBef>
              <a:buSzPct val="100000"/>
            </a:pPr>
            <a:r>
              <a:rPr lang="es-CO" sz="1050" dirty="0"/>
              <a:t>Orientar la programación que se transmita por la emisora con el fin de colaborar en la prevención del consumo de drogas, bebidas alcohólicas y tabaco, no dar crédito a medicamentos que carezcan de autorización emitida por autoridad competente, promover el respeto por los derechos de los niños, niñas y adolescentes, contrarrestar la apología al delito y la violencia, exaltar los valores de la persona y en todo caso ajustar la programación conforme a los fines del Servicio concedido.</a:t>
            </a:r>
          </a:p>
        </p:txBody>
      </p:sp>
      <p:sp>
        <p:nvSpPr>
          <p:cNvPr id="16" name="Rectangle 15"/>
          <p:cNvSpPr/>
          <p:nvPr/>
        </p:nvSpPr>
        <p:spPr>
          <a:xfrm>
            <a:off x="3154882" y="5590258"/>
            <a:ext cx="2587187" cy="507831"/>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CO" sz="1050" dirty="0"/>
              <a:t>Permanente.</a:t>
            </a:r>
          </a:p>
        </p:txBody>
      </p:sp>
      <p:sp>
        <p:nvSpPr>
          <p:cNvPr id="20" name="TextBox 19"/>
          <p:cNvSpPr txBox="1"/>
          <p:nvPr/>
        </p:nvSpPr>
        <p:spPr>
          <a:xfrm>
            <a:off x="1296018" y="1442373"/>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22" name="TextBox 21"/>
          <p:cNvSpPr txBox="1"/>
          <p:nvPr/>
        </p:nvSpPr>
        <p:spPr>
          <a:xfrm>
            <a:off x="4261749" y="1416953"/>
            <a:ext cx="385737" cy="688256"/>
          </a:xfrm>
          <a:prstGeom prst="rect">
            <a:avLst/>
          </a:prstGeom>
          <a:noFill/>
        </p:spPr>
        <p:txBody>
          <a:bodyPr wrap="square" lIns="36000" tIns="36000" rIns="36000" bIns="36000" rtlCol="0">
            <a:spAutoFit/>
          </a:bodyPr>
          <a:lstStyle/>
          <a:p>
            <a:r>
              <a:rPr lang="en-US" sz="4000" b="1" dirty="0">
                <a:solidFill>
                  <a:srgbClr val="046A38"/>
                </a:solidFill>
              </a:rPr>
              <a:t>2</a:t>
            </a:r>
          </a:p>
        </p:txBody>
      </p:sp>
      <p:sp>
        <p:nvSpPr>
          <p:cNvPr id="23" name="Rectangle 22"/>
          <p:cNvSpPr/>
          <p:nvPr/>
        </p:nvSpPr>
        <p:spPr>
          <a:xfrm>
            <a:off x="194305" y="1999824"/>
            <a:ext cx="2589170" cy="253916"/>
          </a:xfrm>
          <a:prstGeom prst="rect">
            <a:avLst/>
          </a:prstGeom>
        </p:spPr>
        <p:txBody>
          <a:bodyPr wrap="none">
            <a:spAutoFit/>
          </a:bodyPr>
          <a:lstStyle/>
          <a:p>
            <a:pPr marL="0" lvl="2" algn="ctr">
              <a:spcBef>
                <a:spcPts val="600"/>
              </a:spcBef>
              <a:buSzPct val="100000"/>
            </a:pPr>
            <a:r>
              <a:rPr lang="es-CO" sz="1050" b="1" dirty="0">
                <a:solidFill>
                  <a:schemeClr val="accent4"/>
                </a:solidFill>
              </a:rPr>
              <a:t>DISEÑO DE LA PROGRAMACIÓN</a:t>
            </a:r>
          </a:p>
        </p:txBody>
      </p:sp>
      <p:sp>
        <p:nvSpPr>
          <p:cNvPr id="24" name="Rectangle 23"/>
          <p:cNvSpPr/>
          <p:nvPr/>
        </p:nvSpPr>
        <p:spPr>
          <a:xfrm>
            <a:off x="2819684" y="2006122"/>
            <a:ext cx="3081293" cy="253916"/>
          </a:xfrm>
          <a:prstGeom prst="rect">
            <a:avLst/>
          </a:prstGeom>
        </p:spPr>
        <p:txBody>
          <a:bodyPr wrap="none">
            <a:spAutoFit/>
          </a:bodyPr>
          <a:lstStyle/>
          <a:p>
            <a:pPr marL="0" lvl="2" algn="ctr">
              <a:spcBef>
                <a:spcPts val="600"/>
              </a:spcBef>
              <a:buSzPct val="100000"/>
            </a:pPr>
            <a:r>
              <a:rPr lang="es-CO" sz="1050" b="1" dirty="0">
                <a:solidFill>
                  <a:srgbClr val="046A38"/>
                </a:solidFill>
              </a:rPr>
              <a:t>ORIENTACIÓN DE LA PROGRAMACIÓN</a:t>
            </a:r>
          </a:p>
        </p:txBody>
      </p:sp>
      <p:sp>
        <p:nvSpPr>
          <p:cNvPr id="28" name="Rectangle 27"/>
          <p:cNvSpPr/>
          <p:nvPr/>
        </p:nvSpPr>
        <p:spPr>
          <a:xfrm>
            <a:off x="6308439" y="2478787"/>
            <a:ext cx="2412000" cy="2669962"/>
          </a:xfrm>
          <a:prstGeom prst="rect">
            <a:avLst/>
          </a:prstGeom>
          <a:ln>
            <a:noFill/>
          </a:ln>
        </p:spPr>
        <p:txBody>
          <a:bodyPr wrap="square">
            <a:spAutoFit/>
          </a:bodyPr>
          <a:lstStyle/>
          <a:p>
            <a:pPr marL="0" lvl="2">
              <a:spcBef>
                <a:spcPts val="600"/>
              </a:spcBef>
              <a:buSzPct val="100000"/>
            </a:pPr>
            <a:r>
              <a:rPr lang="es-CO" altLang="ja-JP" sz="1050" b="1" dirty="0">
                <a:solidFill>
                  <a:schemeClr val="accent4">
                    <a:lumMod val="60000"/>
                    <a:lumOff val="40000"/>
                  </a:schemeClr>
                </a:solidFill>
              </a:rPr>
              <a:t>¿Cómo?</a:t>
            </a:r>
          </a:p>
          <a:p>
            <a:pPr marL="0" lvl="2">
              <a:spcBef>
                <a:spcPts val="600"/>
              </a:spcBef>
              <a:buSzPct val="100000"/>
            </a:pPr>
            <a:r>
              <a:rPr lang="es-ES" sz="1050" dirty="0"/>
              <a:t>Divulgar al público al menos una vez al día, el nombre de la emisora, el distintivo de llamada, la frecuencia autorizada y el municipio o distrito sede de la estación autorizados. </a:t>
            </a:r>
          </a:p>
          <a:p>
            <a:pPr marL="0" lvl="2">
              <a:spcBef>
                <a:spcPts val="600"/>
              </a:spcBef>
              <a:buSzPct val="100000"/>
            </a:pPr>
            <a:r>
              <a:rPr lang="es-ES" sz="1050" dirty="0"/>
              <a:t>Cuando el servicio se preste con horario discontinuo e interrumpido, la identificación de la estación debe surtirse al inicio y a la finalización de la transmisión con indicación de la hora en que se reanudará la prestación del servicio.</a:t>
            </a:r>
          </a:p>
        </p:txBody>
      </p:sp>
      <p:sp>
        <p:nvSpPr>
          <p:cNvPr id="29" name="TextBox 28"/>
          <p:cNvSpPr txBox="1"/>
          <p:nvPr/>
        </p:nvSpPr>
        <p:spPr>
          <a:xfrm>
            <a:off x="7124899" y="1422255"/>
            <a:ext cx="385737" cy="688256"/>
          </a:xfrm>
          <a:prstGeom prst="rect">
            <a:avLst/>
          </a:prstGeom>
          <a:noFill/>
        </p:spPr>
        <p:txBody>
          <a:bodyPr wrap="square" lIns="36000" tIns="36000" rIns="36000" bIns="36000" rtlCol="0">
            <a:spAutoFit/>
          </a:bodyPr>
          <a:lstStyle/>
          <a:p>
            <a:r>
              <a:rPr lang="en-US" sz="4000" b="1" dirty="0">
                <a:solidFill>
                  <a:schemeClr val="accent4">
                    <a:lumMod val="60000"/>
                    <a:lumOff val="40000"/>
                  </a:schemeClr>
                </a:solidFill>
              </a:rPr>
              <a:t>3</a:t>
            </a:r>
          </a:p>
        </p:txBody>
      </p:sp>
      <p:sp>
        <p:nvSpPr>
          <p:cNvPr id="30" name="Rectangle 29"/>
          <p:cNvSpPr/>
          <p:nvPr/>
        </p:nvSpPr>
        <p:spPr>
          <a:xfrm>
            <a:off x="6561504" y="1999824"/>
            <a:ext cx="1503938" cy="253916"/>
          </a:xfrm>
          <a:prstGeom prst="rect">
            <a:avLst/>
          </a:prstGeom>
        </p:spPr>
        <p:txBody>
          <a:bodyPr wrap="none">
            <a:spAutoFit/>
          </a:bodyPr>
          <a:lstStyle/>
          <a:p>
            <a:pPr marL="0" lvl="2" algn="ctr">
              <a:spcBef>
                <a:spcPts val="600"/>
              </a:spcBef>
              <a:buSzPct val="100000"/>
            </a:pPr>
            <a:r>
              <a:rPr lang="es-CO" sz="1050" b="1" dirty="0">
                <a:solidFill>
                  <a:schemeClr val="accent4">
                    <a:lumMod val="60000"/>
                    <a:lumOff val="40000"/>
                  </a:schemeClr>
                </a:solidFill>
              </a:rPr>
              <a:t>IDENTIFICACIÓN</a:t>
            </a:r>
          </a:p>
        </p:txBody>
      </p:sp>
      <p:sp>
        <p:nvSpPr>
          <p:cNvPr id="33" name="Rectangle 32"/>
          <p:cNvSpPr/>
          <p:nvPr/>
        </p:nvSpPr>
        <p:spPr>
          <a:xfrm>
            <a:off x="6308439" y="5590258"/>
            <a:ext cx="2412000" cy="507831"/>
          </a:xfrm>
          <a:prstGeom prst="rect">
            <a:avLst/>
          </a:prstGeom>
          <a:ln>
            <a:noFill/>
          </a:ln>
        </p:spPr>
        <p:txBody>
          <a:bodyPr wrap="square">
            <a:spAutoFit/>
          </a:bodyPr>
          <a:lstStyle/>
          <a:p>
            <a:pPr marL="0" lvl="2">
              <a:spcBef>
                <a:spcPts val="600"/>
              </a:spcBef>
              <a:buSzPct val="100000"/>
            </a:pPr>
            <a:r>
              <a:rPr lang="es-CO" altLang="ja-JP" sz="1050" b="1" dirty="0">
                <a:solidFill>
                  <a:schemeClr val="tx1">
                    <a:lumMod val="85000"/>
                    <a:lumOff val="15000"/>
                  </a:schemeClr>
                </a:solidFill>
                <a:ea typeface="ＭＳ Ｐゴシック" pitchFamily="50" charset="-128"/>
              </a:rPr>
              <a:t>¿Cuándo?</a:t>
            </a:r>
            <a:endParaRPr lang="en-US" altLang="ja-JP" sz="1050" b="1" dirty="0">
              <a:solidFill>
                <a:schemeClr val="tx1">
                  <a:lumMod val="85000"/>
                  <a:lumOff val="15000"/>
                </a:schemeClr>
              </a:solidFill>
              <a:ea typeface="ＭＳ Ｐゴシック" pitchFamily="50" charset="-128"/>
            </a:endParaRPr>
          </a:p>
          <a:p>
            <a:pPr marL="0" lvl="2">
              <a:spcBef>
                <a:spcPts val="600"/>
              </a:spcBef>
              <a:buSzPct val="100000"/>
            </a:pPr>
            <a:r>
              <a:rPr lang="es-ES" sz="1050" dirty="0"/>
              <a:t>Permanente.</a:t>
            </a:r>
          </a:p>
        </p:txBody>
      </p:sp>
      <p:pic>
        <p:nvPicPr>
          <p:cNvPr id="46" name="Picture 45"/>
          <p:cNvPicPr>
            <a:picLocks noChangeAspect="1"/>
          </p:cNvPicPr>
          <p:nvPr/>
        </p:nvPicPr>
        <p:blipFill>
          <a:blip r:embed="rId3"/>
          <a:stretch>
            <a:fillRect/>
          </a:stretch>
        </p:blipFill>
        <p:spPr>
          <a:xfrm>
            <a:off x="7804762" y="0"/>
            <a:ext cx="1237595" cy="1274174"/>
          </a:xfrm>
          <a:prstGeom prst="rect">
            <a:avLst/>
          </a:prstGeom>
        </p:spPr>
      </p:pic>
      <p:sp>
        <p:nvSpPr>
          <p:cNvPr id="47" name="Freeform 970"/>
          <p:cNvSpPr>
            <a:spLocks noEditPoints="1"/>
          </p:cNvSpPr>
          <p:nvPr/>
        </p:nvSpPr>
        <p:spPr bwMode="auto">
          <a:xfrm>
            <a:off x="8168443" y="362666"/>
            <a:ext cx="468000" cy="504000"/>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Diagonal Stripe 35"/>
          <p:cNvSpPr/>
          <p:nvPr/>
        </p:nvSpPr>
        <p:spPr>
          <a:xfrm>
            <a:off x="341348" y="2620107"/>
            <a:ext cx="288000" cy="288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0" name="Diagonal Stripe 39"/>
          <p:cNvSpPr/>
          <p:nvPr/>
        </p:nvSpPr>
        <p:spPr>
          <a:xfrm flipV="1">
            <a:off x="341348" y="2301127"/>
            <a:ext cx="288000" cy="288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1" name="Diagonal Stripe 40"/>
          <p:cNvSpPr/>
          <p:nvPr/>
        </p:nvSpPr>
        <p:spPr>
          <a:xfrm>
            <a:off x="341348" y="5706247"/>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Diagonal Stripe 41"/>
          <p:cNvSpPr/>
          <p:nvPr/>
        </p:nvSpPr>
        <p:spPr>
          <a:xfrm flipV="1">
            <a:off x="341348" y="5387267"/>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3" name="Diagonal Stripe 42"/>
          <p:cNvSpPr/>
          <p:nvPr/>
        </p:nvSpPr>
        <p:spPr>
          <a:xfrm>
            <a:off x="6053282" y="2620107"/>
            <a:ext cx="288000" cy="288000"/>
          </a:xfrm>
          <a:prstGeom prst="diagStripe">
            <a:avLst/>
          </a:prstGeom>
          <a:solidFill>
            <a:srgbClr val="0055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4" name="Diagonal Stripe 43"/>
          <p:cNvSpPr/>
          <p:nvPr/>
        </p:nvSpPr>
        <p:spPr>
          <a:xfrm flipV="1">
            <a:off x="6053282" y="2300199"/>
            <a:ext cx="288000" cy="288000"/>
          </a:xfrm>
          <a:prstGeom prst="diagStripe">
            <a:avLst/>
          </a:pr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5" name="Diagonal Stripe 44"/>
          <p:cNvSpPr/>
          <p:nvPr/>
        </p:nvSpPr>
        <p:spPr>
          <a:xfrm>
            <a:off x="2931001" y="2620107"/>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Diagonal Stripe 47"/>
          <p:cNvSpPr/>
          <p:nvPr/>
        </p:nvSpPr>
        <p:spPr>
          <a:xfrm flipV="1">
            <a:off x="2931001" y="2300199"/>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Diagonal Stripe 48"/>
          <p:cNvSpPr/>
          <p:nvPr/>
        </p:nvSpPr>
        <p:spPr>
          <a:xfrm>
            <a:off x="6053282" y="5707175"/>
            <a:ext cx="288000" cy="288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Diagonal Stripe 49"/>
          <p:cNvSpPr/>
          <p:nvPr/>
        </p:nvSpPr>
        <p:spPr>
          <a:xfrm flipV="1">
            <a:off x="6053282" y="5387267"/>
            <a:ext cx="288000" cy="288000"/>
          </a:xfrm>
          <a:prstGeom prst="diagStripe">
            <a:avLst/>
          </a:prstGeom>
          <a:solidFill>
            <a:schemeClr val="tx1">
              <a:lumMod val="85000"/>
              <a:lumOff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Diagonal Stripe 50"/>
          <p:cNvSpPr/>
          <p:nvPr/>
        </p:nvSpPr>
        <p:spPr>
          <a:xfrm>
            <a:off x="2931001" y="5710669"/>
            <a:ext cx="288000" cy="288000"/>
          </a:xfrm>
          <a:prstGeom prst="diagStripe">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2" name="Diagonal Stripe 51"/>
          <p:cNvSpPr/>
          <p:nvPr/>
        </p:nvSpPr>
        <p:spPr>
          <a:xfrm flipV="1">
            <a:off x="2931001" y="5390761"/>
            <a:ext cx="288000" cy="288000"/>
          </a:xfrm>
          <a:prstGeom prst="diagStrip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Tree>
    <p:extLst>
      <p:ext uri="{BB962C8B-B14F-4D97-AF65-F5344CB8AC3E}">
        <p14:creationId xmlns:p14="http://schemas.microsoft.com/office/powerpoint/2010/main" val="15484422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365703" y="1905391"/>
            <a:ext cx="7056000" cy="577081"/>
          </a:xfrm>
          <a:prstGeom prst="rect">
            <a:avLst/>
          </a:prstGeom>
          <a:ln>
            <a:noFill/>
          </a:ln>
        </p:spPr>
        <p:txBody>
          <a:bodyPr wrap="square">
            <a:spAutoFit/>
          </a:bodyPr>
          <a:lstStyle/>
          <a:p>
            <a:pPr marL="0" lvl="2">
              <a:spcBef>
                <a:spcPts val="600"/>
              </a:spcBef>
              <a:buSzPct val="100000"/>
            </a:pPr>
            <a:r>
              <a:rPr lang="es-CO" sz="1050" dirty="0"/>
              <a:t>Si el concesionario de tipo comercial arrienda su emisora deberá informar sobre este aspecto, 15 días hábiles siguientes a la suscripción del contrato de arrendamiento. (Los concesionarios comunitarios y de interés publico no están autorizados para arrendar la emisora).</a:t>
            </a:r>
            <a:endParaRPr lang="es-CO" sz="1050" i="1" dirty="0"/>
          </a:p>
        </p:txBody>
      </p:sp>
      <p:sp>
        <p:nvSpPr>
          <p:cNvPr id="17" name="Rectangle 16"/>
          <p:cNvSpPr/>
          <p:nvPr/>
        </p:nvSpPr>
        <p:spPr>
          <a:xfrm>
            <a:off x="750627" y="366704"/>
            <a:ext cx="7397086" cy="1323439"/>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Otros aspectos donde el concesionario debe informar al MINTIC a través de una comunicación radicada, donde se evidencie el numero de expediente del concesionario.</a:t>
            </a: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sz="1050" dirty="0"/>
          </a:p>
        </p:txBody>
      </p:sp>
      <p:grpSp>
        <p:nvGrpSpPr>
          <p:cNvPr id="2" name="Group 1"/>
          <p:cNvGrpSpPr/>
          <p:nvPr/>
        </p:nvGrpSpPr>
        <p:grpSpPr>
          <a:xfrm>
            <a:off x="1031654" y="1895948"/>
            <a:ext cx="220039" cy="381020"/>
            <a:chOff x="1019626" y="1751566"/>
            <a:chExt cx="220039" cy="381020"/>
          </a:xfrm>
        </p:grpSpPr>
        <p:sp>
          <p:nvSpPr>
            <p:cNvPr id="16" name="Diagonal Stripe 15"/>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18" name="Diagonal Stripe 17"/>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sp>
        <p:nvSpPr>
          <p:cNvPr id="13" name="Rectangle 12"/>
          <p:cNvSpPr/>
          <p:nvPr/>
        </p:nvSpPr>
        <p:spPr>
          <a:xfrm>
            <a:off x="1365703" y="5750085"/>
            <a:ext cx="7056000" cy="253916"/>
          </a:xfrm>
          <a:prstGeom prst="rect">
            <a:avLst/>
          </a:prstGeom>
          <a:ln>
            <a:noFill/>
          </a:ln>
        </p:spPr>
        <p:txBody>
          <a:bodyPr wrap="square">
            <a:spAutoFit/>
          </a:bodyPr>
          <a:lstStyle/>
          <a:p>
            <a:pPr marL="0" lvl="2">
              <a:spcBef>
                <a:spcPts val="600"/>
              </a:spcBef>
              <a:buSzPct val="100000"/>
            </a:pPr>
            <a:r>
              <a:rPr lang="es-CO" sz="1050" dirty="0"/>
              <a:t>Modificación del nombre de la emisora.</a:t>
            </a:r>
          </a:p>
        </p:txBody>
      </p:sp>
      <p:sp>
        <p:nvSpPr>
          <p:cNvPr id="23" name="Rectangle 22"/>
          <p:cNvSpPr/>
          <p:nvPr/>
        </p:nvSpPr>
        <p:spPr>
          <a:xfrm>
            <a:off x="1365703" y="3510121"/>
            <a:ext cx="7056000" cy="253916"/>
          </a:xfrm>
          <a:prstGeom prst="rect">
            <a:avLst/>
          </a:prstGeom>
          <a:ln>
            <a:noFill/>
          </a:ln>
        </p:spPr>
        <p:txBody>
          <a:bodyPr wrap="square">
            <a:spAutoFit/>
          </a:bodyPr>
          <a:lstStyle/>
          <a:p>
            <a:pPr marL="0" lvl="2">
              <a:spcBef>
                <a:spcPts val="600"/>
              </a:spcBef>
              <a:buSzPct val="100000"/>
            </a:pPr>
            <a:r>
              <a:rPr lang="es-CO" sz="1050" dirty="0"/>
              <a:t>Modificación del horario de operación de la emisora.</a:t>
            </a:r>
            <a:endParaRPr lang="es-CO" sz="1050" i="1" dirty="0"/>
          </a:p>
        </p:txBody>
      </p:sp>
      <p:sp>
        <p:nvSpPr>
          <p:cNvPr id="26" name="Rectangle 25"/>
          <p:cNvSpPr/>
          <p:nvPr/>
        </p:nvSpPr>
        <p:spPr>
          <a:xfrm>
            <a:off x="1365703" y="3989321"/>
            <a:ext cx="7056000" cy="253916"/>
          </a:xfrm>
          <a:prstGeom prst="rect">
            <a:avLst/>
          </a:prstGeom>
          <a:ln>
            <a:noFill/>
          </a:ln>
        </p:spPr>
        <p:txBody>
          <a:bodyPr wrap="square">
            <a:spAutoFit/>
          </a:bodyPr>
          <a:lstStyle/>
          <a:p>
            <a:pPr marL="0" lvl="2">
              <a:spcBef>
                <a:spcPts val="600"/>
              </a:spcBef>
              <a:buSzPct val="100000"/>
            </a:pPr>
            <a:r>
              <a:rPr lang="es-CO" sz="1050" dirty="0"/>
              <a:t>Modificación de la ubicación de los estudios de la emisora.</a:t>
            </a:r>
            <a:endParaRPr lang="es-CO" sz="1050" i="1" dirty="0"/>
          </a:p>
        </p:txBody>
      </p:sp>
      <p:sp>
        <p:nvSpPr>
          <p:cNvPr id="29" name="Rectangle 28"/>
          <p:cNvSpPr/>
          <p:nvPr/>
        </p:nvSpPr>
        <p:spPr>
          <a:xfrm>
            <a:off x="1365703" y="4468521"/>
            <a:ext cx="7056000" cy="415498"/>
          </a:xfrm>
          <a:prstGeom prst="rect">
            <a:avLst/>
          </a:prstGeom>
          <a:ln>
            <a:noFill/>
          </a:ln>
        </p:spPr>
        <p:txBody>
          <a:bodyPr wrap="square">
            <a:spAutoFit/>
          </a:bodyPr>
          <a:lstStyle/>
          <a:p>
            <a:pPr marL="0" lvl="2">
              <a:spcBef>
                <a:spcPts val="600"/>
              </a:spcBef>
              <a:buSzPct val="100000"/>
            </a:pPr>
            <a:r>
              <a:rPr lang="es-CO" sz="1050" dirty="0"/>
              <a:t>Suspensión de las emisiones por un periodo igual o inferior a 15 días, informando al MINTIC y al público con cinco (5) días de anticipación.</a:t>
            </a:r>
            <a:endParaRPr lang="es-CO" sz="1050" i="1" dirty="0"/>
          </a:p>
        </p:txBody>
      </p:sp>
      <p:sp>
        <p:nvSpPr>
          <p:cNvPr id="32" name="Rectangle 31"/>
          <p:cNvSpPr/>
          <p:nvPr/>
        </p:nvSpPr>
        <p:spPr>
          <a:xfrm>
            <a:off x="1365703" y="2707756"/>
            <a:ext cx="7056000" cy="577081"/>
          </a:xfrm>
          <a:prstGeom prst="rect">
            <a:avLst/>
          </a:prstGeom>
          <a:ln>
            <a:noFill/>
          </a:ln>
        </p:spPr>
        <p:txBody>
          <a:bodyPr wrap="square">
            <a:spAutoFit/>
          </a:bodyPr>
          <a:lstStyle/>
          <a:p>
            <a:pPr marL="0" lvl="2">
              <a:spcBef>
                <a:spcPts val="600"/>
              </a:spcBef>
              <a:buSzPct val="100000"/>
            </a:pPr>
            <a:r>
              <a:rPr lang="es-CO" sz="1050" dirty="0"/>
              <a:t>Los concesionarios de tipo comercial que de realicen fusiones o integraciones de emisoras comerciales, deben informar sobre el asunto al MINTIC. (Los concesionarios comunitarios y de interés publico no están autorizados para arrendar la emisora).</a:t>
            </a:r>
            <a:endParaRPr lang="es-CO" sz="1050" i="1" dirty="0"/>
          </a:p>
        </p:txBody>
      </p:sp>
      <p:pic>
        <p:nvPicPr>
          <p:cNvPr id="35" name="Picture 34"/>
          <p:cNvPicPr>
            <a:picLocks noChangeAspect="1"/>
          </p:cNvPicPr>
          <p:nvPr/>
        </p:nvPicPr>
        <p:blipFill>
          <a:blip r:embed="rId3"/>
          <a:stretch>
            <a:fillRect/>
          </a:stretch>
        </p:blipFill>
        <p:spPr>
          <a:xfrm>
            <a:off x="7930187" y="-84696"/>
            <a:ext cx="1237595" cy="1274174"/>
          </a:xfrm>
          <a:prstGeom prst="rect">
            <a:avLst/>
          </a:prstGeom>
        </p:spPr>
      </p:pic>
      <p:sp>
        <p:nvSpPr>
          <p:cNvPr id="19" name="Freeform 683"/>
          <p:cNvSpPr>
            <a:spLocks noEditPoints="1"/>
          </p:cNvSpPr>
          <p:nvPr/>
        </p:nvSpPr>
        <p:spPr bwMode="auto">
          <a:xfrm>
            <a:off x="8291608" y="267243"/>
            <a:ext cx="504000" cy="576000"/>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Rectangle 35"/>
          <p:cNvSpPr/>
          <p:nvPr/>
        </p:nvSpPr>
        <p:spPr>
          <a:xfrm>
            <a:off x="1365703" y="5109303"/>
            <a:ext cx="7056000" cy="415498"/>
          </a:xfrm>
          <a:prstGeom prst="rect">
            <a:avLst/>
          </a:prstGeom>
          <a:ln>
            <a:noFill/>
          </a:ln>
        </p:spPr>
        <p:txBody>
          <a:bodyPr wrap="square">
            <a:spAutoFit/>
          </a:bodyPr>
          <a:lstStyle/>
          <a:p>
            <a:pPr marL="0" lvl="2">
              <a:spcBef>
                <a:spcPts val="600"/>
              </a:spcBef>
              <a:buSzPct val="100000"/>
            </a:pPr>
            <a:r>
              <a:rPr lang="es-CO" sz="1050" dirty="0"/>
              <a:t>Suspensión del servicio por fuerza mayor o caso fortuito que impliquen suspensión temporal por más de treinta (30) días.</a:t>
            </a:r>
            <a:endParaRPr lang="es-CO" sz="1050" i="1" dirty="0"/>
          </a:p>
        </p:txBody>
      </p:sp>
      <p:sp>
        <p:nvSpPr>
          <p:cNvPr id="42" name="Rectangle 41"/>
          <p:cNvSpPr/>
          <p:nvPr/>
        </p:nvSpPr>
        <p:spPr>
          <a:xfrm>
            <a:off x="1365703" y="6229283"/>
            <a:ext cx="7056000" cy="253916"/>
          </a:xfrm>
          <a:prstGeom prst="rect">
            <a:avLst/>
          </a:prstGeom>
          <a:ln>
            <a:noFill/>
          </a:ln>
        </p:spPr>
        <p:txBody>
          <a:bodyPr wrap="square">
            <a:spAutoFit/>
          </a:bodyPr>
          <a:lstStyle/>
          <a:p>
            <a:pPr marL="0" lvl="2">
              <a:spcBef>
                <a:spcPts val="600"/>
              </a:spcBef>
              <a:buSzPct val="100000"/>
            </a:pPr>
            <a:r>
              <a:rPr lang="es-CO" sz="1050" dirty="0"/>
              <a:t>Modificación o renovación de los equipos presentados dentro del último estudio técnico aprobado.</a:t>
            </a:r>
            <a:endParaRPr lang="es-CO" sz="1050" i="1" dirty="0"/>
          </a:p>
        </p:txBody>
      </p:sp>
      <p:grpSp>
        <p:nvGrpSpPr>
          <p:cNvPr id="37" name="Group 36"/>
          <p:cNvGrpSpPr/>
          <p:nvPr/>
        </p:nvGrpSpPr>
        <p:grpSpPr>
          <a:xfrm>
            <a:off x="1031654" y="2776022"/>
            <a:ext cx="220039" cy="381020"/>
            <a:chOff x="1019626" y="1751566"/>
            <a:chExt cx="220039" cy="381020"/>
          </a:xfrm>
        </p:grpSpPr>
        <p:sp>
          <p:nvSpPr>
            <p:cNvPr id="38" name="Diagonal Stripe 37"/>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45" name="Diagonal Stripe 44"/>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46" name="Group 45"/>
          <p:cNvGrpSpPr/>
          <p:nvPr/>
        </p:nvGrpSpPr>
        <p:grpSpPr>
          <a:xfrm>
            <a:off x="1031654" y="3451556"/>
            <a:ext cx="220039" cy="381020"/>
            <a:chOff x="1019626" y="1751566"/>
            <a:chExt cx="220039" cy="381020"/>
          </a:xfrm>
        </p:grpSpPr>
        <p:sp>
          <p:nvSpPr>
            <p:cNvPr id="47" name="Diagonal Stripe 46"/>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48" name="Diagonal Stripe 47"/>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49" name="Group 48"/>
          <p:cNvGrpSpPr/>
          <p:nvPr/>
        </p:nvGrpSpPr>
        <p:grpSpPr>
          <a:xfrm>
            <a:off x="1031654" y="4476006"/>
            <a:ext cx="220039" cy="381020"/>
            <a:chOff x="1019626" y="1751566"/>
            <a:chExt cx="220039" cy="381020"/>
          </a:xfrm>
        </p:grpSpPr>
        <p:sp>
          <p:nvSpPr>
            <p:cNvPr id="50" name="Diagonal Stripe 49"/>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51" name="Diagonal Stripe 50"/>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52" name="Group 51"/>
          <p:cNvGrpSpPr/>
          <p:nvPr/>
        </p:nvGrpSpPr>
        <p:grpSpPr>
          <a:xfrm>
            <a:off x="1031654" y="5091388"/>
            <a:ext cx="220039" cy="381020"/>
            <a:chOff x="1019626" y="1751566"/>
            <a:chExt cx="220039" cy="381020"/>
          </a:xfrm>
        </p:grpSpPr>
        <p:sp>
          <p:nvSpPr>
            <p:cNvPr id="53" name="Diagonal Stripe 52"/>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54" name="Diagonal Stripe 53"/>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55" name="Group 54"/>
          <p:cNvGrpSpPr/>
          <p:nvPr/>
        </p:nvGrpSpPr>
        <p:grpSpPr>
          <a:xfrm>
            <a:off x="1031654" y="5670671"/>
            <a:ext cx="220039" cy="381020"/>
            <a:chOff x="1019626" y="1751566"/>
            <a:chExt cx="220039" cy="381020"/>
          </a:xfrm>
        </p:grpSpPr>
        <p:sp>
          <p:nvSpPr>
            <p:cNvPr id="56" name="Diagonal Stripe 55"/>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57" name="Diagonal Stripe 56"/>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61" name="Group 60"/>
          <p:cNvGrpSpPr/>
          <p:nvPr/>
        </p:nvGrpSpPr>
        <p:grpSpPr>
          <a:xfrm>
            <a:off x="1031654" y="6165731"/>
            <a:ext cx="220039" cy="381020"/>
            <a:chOff x="1019626" y="1751566"/>
            <a:chExt cx="220039" cy="381020"/>
          </a:xfrm>
        </p:grpSpPr>
        <p:sp>
          <p:nvSpPr>
            <p:cNvPr id="62" name="Diagonal Stripe 61"/>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63" name="Diagonal Stripe 62"/>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grpSp>
        <p:nvGrpSpPr>
          <p:cNvPr id="64" name="Group 63"/>
          <p:cNvGrpSpPr/>
          <p:nvPr/>
        </p:nvGrpSpPr>
        <p:grpSpPr>
          <a:xfrm>
            <a:off x="1031477" y="3919409"/>
            <a:ext cx="220039" cy="381020"/>
            <a:chOff x="1019626" y="1751566"/>
            <a:chExt cx="220039" cy="381020"/>
          </a:xfrm>
        </p:grpSpPr>
        <p:sp>
          <p:nvSpPr>
            <p:cNvPr id="65" name="Diagonal Stripe 64"/>
            <p:cNvSpPr/>
            <p:nvPr/>
          </p:nvSpPr>
          <p:spPr>
            <a:xfrm>
              <a:off x="1019803" y="1952586"/>
              <a:ext cx="219862" cy="180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sp>
          <p:nvSpPr>
            <p:cNvPr id="66" name="Diagonal Stripe 65"/>
            <p:cNvSpPr/>
            <p:nvPr/>
          </p:nvSpPr>
          <p:spPr>
            <a:xfrm flipV="1">
              <a:off x="1019626" y="1751566"/>
              <a:ext cx="219862" cy="180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050" dirty="0">
                <a:solidFill>
                  <a:schemeClr val="tx2"/>
                </a:solidFill>
              </a:endParaRPr>
            </a:p>
          </p:txBody>
        </p:sp>
      </p:grpSp>
    </p:spTree>
    <p:extLst>
      <p:ext uri="{BB962C8B-B14F-4D97-AF65-F5344CB8AC3E}">
        <p14:creationId xmlns:p14="http://schemas.microsoft.com/office/powerpoint/2010/main" val="13269146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81515" y="4261481"/>
            <a:ext cx="2340000" cy="846386"/>
          </a:xfrm>
          <a:prstGeom prst="rect">
            <a:avLst/>
          </a:prstGeom>
          <a:ln>
            <a:noFill/>
          </a:ln>
        </p:spPr>
        <p:txBody>
          <a:bodyPr wrap="square">
            <a:spAutoFit/>
          </a:bodyPr>
          <a:lstStyle/>
          <a:p>
            <a:pPr marL="0" lvl="2">
              <a:spcBef>
                <a:spcPts val="600"/>
              </a:spcBef>
              <a:buSzPct val="100000"/>
            </a:pPr>
            <a:r>
              <a:rPr lang="es-CO" altLang="ja-JP" sz="1050" b="1" dirty="0">
                <a:solidFill>
                  <a:schemeClr val="accent6">
                    <a:lumMod val="75000"/>
                  </a:schemeClr>
                </a:solidFill>
                <a:ea typeface="ＭＳ Ｐゴシック" pitchFamily="50" charset="-128"/>
              </a:rPr>
              <a:t>¿Cuándo?</a:t>
            </a:r>
            <a:endParaRPr lang="en-US" altLang="ja-JP" sz="1050" b="1" dirty="0">
              <a:solidFill>
                <a:schemeClr val="accent6">
                  <a:lumMod val="75000"/>
                </a:schemeClr>
              </a:solidFill>
              <a:ea typeface="ＭＳ Ｐゴシック" pitchFamily="50" charset="-128"/>
            </a:endParaRPr>
          </a:p>
          <a:p>
            <a:pPr marL="0" lvl="2">
              <a:spcBef>
                <a:spcPts val="600"/>
              </a:spcBef>
              <a:buSzPct val="100000"/>
            </a:pPr>
            <a:r>
              <a:rPr lang="es-CO" sz="1050" dirty="0"/>
              <a:t>Mínimo tres (3) meses antes del vencimiento de la concesión.</a:t>
            </a:r>
            <a:endParaRPr lang="en-US" sz="1050" dirty="0"/>
          </a:p>
        </p:txBody>
      </p:sp>
      <p:sp>
        <p:nvSpPr>
          <p:cNvPr id="15" name="Rectangle 14"/>
          <p:cNvSpPr/>
          <p:nvPr/>
        </p:nvSpPr>
        <p:spPr>
          <a:xfrm>
            <a:off x="579271" y="2349719"/>
            <a:ext cx="2340000" cy="1461939"/>
          </a:xfrm>
          <a:prstGeom prst="rect">
            <a:avLst/>
          </a:prstGeom>
          <a:ln>
            <a:noFill/>
          </a:ln>
        </p:spPr>
        <p:txBody>
          <a:bodyPr wrap="square">
            <a:spAutoFit/>
          </a:bodyPr>
          <a:lstStyle/>
          <a:p>
            <a:pPr marL="0" lvl="2">
              <a:spcBef>
                <a:spcPts val="600"/>
              </a:spcBef>
              <a:buSzPct val="100000"/>
            </a:pPr>
            <a:r>
              <a:rPr lang="es-CO" altLang="ja-JP" sz="1050" b="1" dirty="0">
                <a:solidFill>
                  <a:schemeClr val="accent4"/>
                </a:solidFill>
              </a:rPr>
              <a:t>¿Cómo?</a:t>
            </a:r>
            <a:endParaRPr lang="es-CO" altLang="ja-JP" sz="1050" b="1" dirty="0">
              <a:solidFill>
                <a:schemeClr val="accent4"/>
              </a:solidFill>
              <a:ea typeface="ＭＳ Ｐゴシック" pitchFamily="50" charset="-128"/>
            </a:endParaRPr>
          </a:p>
          <a:p>
            <a:pPr marL="0" lvl="2">
              <a:spcBef>
                <a:spcPts val="600"/>
              </a:spcBef>
              <a:buSzPct val="100000"/>
            </a:pPr>
            <a:r>
              <a:rPr lang="es-CO" sz="1050" dirty="0"/>
              <a:t>En caso de no ser posible la entrada en operación en el plazo inicial, enviar comunicación a la Subdirección de Radiodifusión Sonora informando la solicitud de prórroga de inicio de operaciones.</a:t>
            </a:r>
          </a:p>
        </p:txBody>
      </p:sp>
      <p:sp>
        <p:nvSpPr>
          <p:cNvPr id="16" name="Rectangle 15"/>
          <p:cNvSpPr/>
          <p:nvPr/>
        </p:nvSpPr>
        <p:spPr>
          <a:xfrm>
            <a:off x="6566018" y="2349719"/>
            <a:ext cx="2340000" cy="1138773"/>
          </a:xfrm>
          <a:prstGeom prst="rect">
            <a:avLst/>
          </a:prstGeom>
          <a:ln>
            <a:noFill/>
          </a:ln>
        </p:spPr>
        <p:txBody>
          <a:bodyPr wrap="square">
            <a:spAutoFit/>
          </a:bodyPr>
          <a:lstStyle/>
          <a:p>
            <a:pPr marL="0" lvl="2">
              <a:spcBef>
                <a:spcPts val="600"/>
              </a:spcBef>
              <a:buSzPct val="100000"/>
            </a:pPr>
            <a:r>
              <a:rPr lang="es-CO" altLang="ja-JP" sz="1050" b="1" dirty="0">
                <a:solidFill>
                  <a:schemeClr val="accent4">
                    <a:lumMod val="60000"/>
                    <a:lumOff val="40000"/>
                  </a:schemeClr>
                </a:solidFill>
              </a:rPr>
              <a:t>¿Cómo?</a:t>
            </a:r>
          </a:p>
          <a:p>
            <a:pPr marL="0" lvl="2">
              <a:spcBef>
                <a:spcPts val="600"/>
              </a:spcBef>
              <a:buSzPct val="100000"/>
            </a:pPr>
            <a:r>
              <a:rPr lang="es-CO" sz="1050" dirty="0"/>
              <a:t>Enviar comunicación a la Subdirección de RDS expresando su renuncia a la concesión y divulgar su decisión al público.</a:t>
            </a:r>
          </a:p>
        </p:txBody>
      </p:sp>
      <p:sp>
        <p:nvSpPr>
          <p:cNvPr id="17" name="Rectangle 16"/>
          <p:cNvSpPr/>
          <p:nvPr/>
        </p:nvSpPr>
        <p:spPr>
          <a:xfrm>
            <a:off x="2709599" y="481179"/>
            <a:ext cx="3749744" cy="584775"/>
          </a:xfrm>
          <a:prstGeom prst="rect">
            <a:avLst/>
          </a:prstGeom>
        </p:spPr>
        <p:txBody>
          <a:bodyPr wrap="none">
            <a:spAutoFit/>
          </a:bodyPr>
          <a:lstStyle/>
          <a:p>
            <a:pPr algn="ctr">
              <a:spcBef>
                <a:spcPct val="0"/>
              </a:spcBef>
            </a:pPr>
            <a:r>
              <a:rPr lang="es-CO" sz="2000" b="1" dirty="0">
                <a:ea typeface="Open Sans" panose="020B0606030504020204" pitchFamily="34" charset="0"/>
                <a:cs typeface="Open Sans" panose="020B0606030504020204" pitchFamily="34" charset="0"/>
              </a:rPr>
              <a:t>Vigencia de la Concesión</a:t>
            </a:r>
          </a:p>
          <a:p>
            <a:pPr algn="ctr">
              <a:spcBef>
                <a:spcPct val="0"/>
              </a:spcBef>
            </a:pPr>
            <a:r>
              <a:rPr lang="es-CO" sz="1200" b="1" dirty="0">
                <a:ea typeface="Open Sans" panose="020B0606030504020204" pitchFamily="34" charset="0"/>
                <a:cs typeface="Open Sans" panose="020B0606030504020204" pitchFamily="34" charset="0"/>
              </a:rPr>
              <a:t>Requisito para todos los Concesionarios</a:t>
            </a:r>
          </a:p>
        </p:txBody>
      </p:sp>
      <p:sp>
        <p:nvSpPr>
          <p:cNvPr id="18" name="TextBox 17"/>
          <p:cNvSpPr txBox="1"/>
          <p:nvPr/>
        </p:nvSpPr>
        <p:spPr>
          <a:xfrm>
            <a:off x="1434457" y="1314762"/>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19" name="TextBox 18"/>
          <p:cNvSpPr txBox="1"/>
          <p:nvPr/>
        </p:nvSpPr>
        <p:spPr>
          <a:xfrm>
            <a:off x="4488251" y="1314762"/>
            <a:ext cx="385737" cy="688256"/>
          </a:xfrm>
          <a:prstGeom prst="rect">
            <a:avLst/>
          </a:prstGeom>
          <a:noFill/>
        </p:spPr>
        <p:txBody>
          <a:bodyPr wrap="square" lIns="36000" tIns="36000" rIns="36000" bIns="36000" rtlCol="0">
            <a:spAutoFit/>
          </a:bodyPr>
          <a:lstStyle/>
          <a:p>
            <a:r>
              <a:rPr lang="en-US" sz="4000" b="1" dirty="0">
                <a:solidFill>
                  <a:srgbClr val="009A44"/>
                </a:solidFill>
              </a:rPr>
              <a:t>2</a:t>
            </a:r>
          </a:p>
        </p:txBody>
      </p:sp>
      <p:sp>
        <p:nvSpPr>
          <p:cNvPr id="20" name="TextBox 19"/>
          <p:cNvSpPr txBox="1"/>
          <p:nvPr/>
        </p:nvSpPr>
        <p:spPr>
          <a:xfrm>
            <a:off x="7377360" y="1314762"/>
            <a:ext cx="385737" cy="688256"/>
          </a:xfrm>
          <a:prstGeom prst="rect">
            <a:avLst/>
          </a:prstGeom>
          <a:noFill/>
        </p:spPr>
        <p:txBody>
          <a:bodyPr wrap="square" lIns="36000" tIns="36000" rIns="36000" bIns="36000" rtlCol="0">
            <a:spAutoFit/>
          </a:bodyPr>
          <a:lstStyle/>
          <a:p>
            <a:r>
              <a:rPr lang="en-US" sz="4000" b="1" dirty="0">
                <a:solidFill>
                  <a:schemeClr val="accent4">
                    <a:lumMod val="60000"/>
                    <a:lumOff val="40000"/>
                  </a:schemeClr>
                </a:solidFill>
              </a:rPr>
              <a:t>3</a:t>
            </a:r>
          </a:p>
        </p:txBody>
      </p:sp>
      <p:sp>
        <p:nvSpPr>
          <p:cNvPr id="8" name="Rectangle 7"/>
          <p:cNvSpPr/>
          <p:nvPr/>
        </p:nvSpPr>
        <p:spPr>
          <a:xfrm>
            <a:off x="130762" y="1872213"/>
            <a:ext cx="2993127" cy="261610"/>
          </a:xfrm>
          <a:prstGeom prst="rect">
            <a:avLst/>
          </a:prstGeom>
        </p:spPr>
        <p:txBody>
          <a:bodyPr wrap="none">
            <a:spAutoFit/>
          </a:bodyPr>
          <a:lstStyle/>
          <a:p>
            <a:pPr marL="0" lvl="2" algn="ctr">
              <a:spcBef>
                <a:spcPts val="600"/>
              </a:spcBef>
              <a:buSzPct val="100000"/>
            </a:pPr>
            <a:r>
              <a:rPr lang="es-CO" sz="1100" b="1" dirty="0">
                <a:solidFill>
                  <a:schemeClr val="accent4"/>
                </a:solidFill>
              </a:rPr>
              <a:t>PRÓRROGA ENTRADA EN SERVICIO</a:t>
            </a:r>
          </a:p>
        </p:txBody>
      </p:sp>
      <p:sp>
        <p:nvSpPr>
          <p:cNvPr id="9" name="Rectangle 8"/>
          <p:cNvSpPr/>
          <p:nvPr/>
        </p:nvSpPr>
        <p:spPr>
          <a:xfrm>
            <a:off x="3474699" y="1872213"/>
            <a:ext cx="2412840" cy="261610"/>
          </a:xfrm>
          <a:prstGeom prst="rect">
            <a:avLst/>
          </a:prstGeom>
        </p:spPr>
        <p:txBody>
          <a:bodyPr wrap="none">
            <a:spAutoFit/>
          </a:bodyPr>
          <a:lstStyle/>
          <a:p>
            <a:pPr marL="0" lvl="2" algn="ctr">
              <a:spcBef>
                <a:spcPts val="600"/>
              </a:spcBef>
              <a:buSzPct val="100000"/>
            </a:pPr>
            <a:r>
              <a:rPr lang="es-CO" sz="1100" b="1" dirty="0">
                <a:solidFill>
                  <a:srgbClr val="009A44"/>
                </a:solidFill>
              </a:rPr>
              <a:t>PRÓRROGA DE LA LICENCIA</a:t>
            </a:r>
          </a:p>
        </p:txBody>
      </p:sp>
      <p:sp>
        <p:nvSpPr>
          <p:cNvPr id="10" name="Rectangle 9"/>
          <p:cNvSpPr/>
          <p:nvPr/>
        </p:nvSpPr>
        <p:spPr>
          <a:xfrm>
            <a:off x="6423921" y="1891982"/>
            <a:ext cx="2292615" cy="261610"/>
          </a:xfrm>
          <a:prstGeom prst="rect">
            <a:avLst/>
          </a:prstGeom>
        </p:spPr>
        <p:txBody>
          <a:bodyPr wrap="none">
            <a:spAutoFit/>
          </a:bodyPr>
          <a:lstStyle/>
          <a:p>
            <a:pPr marL="0" lvl="2" algn="ctr">
              <a:spcBef>
                <a:spcPts val="600"/>
              </a:spcBef>
              <a:buSzPct val="100000"/>
            </a:pPr>
            <a:r>
              <a:rPr lang="es-CO" sz="1100" b="1" dirty="0">
                <a:solidFill>
                  <a:schemeClr val="accent4">
                    <a:lumMod val="60000"/>
                    <a:lumOff val="40000"/>
                  </a:schemeClr>
                </a:solidFill>
              </a:rPr>
              <a:t>TERMINAR LA CONCESIÓN</a:t>
            </a:r>
          </a:p>
        </p:txBody>
      </p:sp>
      <p:sp>
        <p:nvSpPr>
          <p:cNvPr id="11" name="Rectangle 10"/>
          <p:cNvSpPr/>
          <p:nvPr/>
        </p:nvSpPr>
        <p:spPr>
          <a:xfrm>
            <a:off x="3581515" y="2349719"/>
            <a:ext cx="2340000" cy="1461939"/>
          </a:xfrm>
          <a:prstGeom prst="rect">
            <a:avLst/>
          </a:prstGeom>
        </p:spPr>
        <p:txBody>
          <a:bodyPr wrap="square">
            <a:spAutoFit/>
          </a:bodyPr>
          <a:lstStyle/>
          <a:p>
            <a:pPr marL="0" lvl="2">
              <a:spcBef>
                <a:spcPts val="600"/>
              </a:spcBef>
              <a:buSzPct val="100000"/>
            </a:pPr>
            <a:r>
              <a:rPr lang="es-CO" altLang="ja-JP" sz="1050" b="1" dirty="0">
                <a:solidFill>
                  <a:srgbClr val="009A44"/>
                </a:solidFill>
              </a:rPr>
              <a:t>¿Cómo?</a:t>
            </a:r>
          </a:p>
          <a:p>
            <a:pPr marL="0" lvl="2">
              <a:spcBef>
                <a:spcPts val="600"/>
              </a:spcBef>
              <a:buSzPct val="100000"/>
            </a:pPr>
            <a:r>
              <a:rPr lang="es-CO" sz="1050" dirty="0"/>
              <a:t>Enviar comunicación a la Subdirección de RDS del MINTIC manifestando intención de prorrogar la concesión (Se debe cumplir con todos los requisitos estipulados por la entidad para concederla).</a:t>
            </a:r>
          </a:p>
        </p:txBody>
      </p:sp>
      <p:sp>
        <p:nvSpPr>
          <p:cNvPr id="25" name="Diagonal Stripe 24"/>
          <p:cNvSpPr/>
          <p:nvPr/>
        </p:nvSpPr>
        <p:spPr>
          <a:xfrm>
            <a:off x="239226" y="2505855"/>
            <a:ext cx="288000" cy="288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245589" y="2186875"/>
            <a:ext cx="288000" cy="288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7" name="Diagonal Stripe 26"/>
          <p:cNvSpPr/>
          <p:nvPr/>
        </p:nvSpPr>
        <p:spPr>
          <a:xfrm>
            <a:off x="6278018" y="2505855"/>
            <a:ext cx="288000" cy="288000"/>
          </a:xfrm>
          <a:prstGeom prst="diagStripe">
            <a:avLst/>
          </a:prstGeom>
          <a:solidFill>
            <a:srgbClr val="0055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8" name="Diagonal Stripe 27"/>
          <p:cNvSpPr/>
          <p:nvPr/>
        </p:nvSpPr>
        <p:spPr>
          <a:xfrm flipV="1">
            <a:off x="6278018" y="2185947"/>
            <a:ext cx="288000" cy="288000"/>
          </a:xfrm>
          <a:prstGeom prst="diagStripe">
            <a:avLst/>
          </a:pr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Diagonal Stripe 29"/>
          <p:cNvSpPr/>
          <p:nvPr/>
        </p:nvSpPr>
        <p:spPr>
          <a:xfrm>
            <a:off x="3216074" y="2505855"/>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Diagonal Stripe 30"/>
          <p:cNvSpPr/>
          <p:nvPr/>
        </p:nvSpPr>
        <p:spPr>
          <a:xfrm flipV="1">
            <a:off x="3215897" y="2185947"/>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Rectangle 31"/>
          <p:cNvSpPr/>
          <p:nvPr/>
        </p:nvSpPr>
        <p:spPr>
          <a:xfrm>
            <a:off x="6566018" y="4261481"/>
            <a:ext cx="2340000" cy="677108"/>
          </a:xfrm>
          <a:prstGeom prst="rect">
            <a:avLst/>
          </a:prstGeom>
          <a:ln>
            <a:noFill/>
          </a:ln>
        </p:spPr>
        <p:txBody>
          <a:bodyPr wrap="square">
            <a:spAutoFit/>
          </a:bodyPr>
          <a:lstStyle/>
          <a:p>
            <a:pPr marL="0" lvl="2">
              <a:spcBef>
                <a:spcPts val="600"/>
              </a:spcBef>
              <a:buSzPct val="100000"/>
            </a:pPr>
            <a:r>
              <a:rPr lang="es-CO" altLang="ja-JP" sz="1050" b="1" dirty="0">
                <a:solidFill>
                  <a:schemeClr val="tx1">
                    <a:lumMod val="85000"/>
                    <a:lumOff val="15000"/>
                  </a:schemeClr>
                </a:solidFill>
                <a:ea typeface="ＭＳ Ｐゴシック" pitchFamily="50" charset="-128"/>
              </a:rPr>
              <a:t>¿Cuándo?</a:t>
            </a:r>
            <a:endParaRPr lang="en-US" altLang="ja-JP" sz="1050" b="1" dirty="0">
              <a:solidFill>
                <a:schemeClr val="tx1">
                  <a:lumMod val="85000"/>
                  <a:lumOff val="15000"/>
                </a:schemeClr>
              </a:solidFill>
              <a:ea typeface="ＭＳ Ｐゴシック" pitchFamily="50" charset="-128"/>
            </a:endParaRPr>
          </a:p>
          <a:p>
            <a:pPr marL="0" lvl="2">
              <a:spcBef>
                <a:spcPts val="600"/>
              </a:spcBef>
              <a:buSzPct val="100000"/>
            </a:pPr>
            <a:r>
              <a:rPr lang="es-ES" sz="1050" dirty="0"/>
              <a:t>Con al menos treinta (30) días de antelación. </a:t>
            </a:r>
          </a:p>
        </p:txBody>
      </p:sp>
      <p:sp>
        <p:nvSpPr>
          <p:cNvPr id="33" name="Diagonal Stripe 32"/>
          <p:cNvSpPr/>
          <p:nvPr/>
        </p:nvSpPr>
        <p:spPr>
          <a:xfrm>
            <a:off x="6278018" y="4414045"/>
            <a:ext cx="288000" cy="288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Diagonal Stripe 33"/>
          <p:cNvSpPr/>
          <p:nvPr/>
        </p:nvSpPr>
        <p:spPr>
          <a:xfrm flipV="1">
            <a:off x="6278018" y="4094137"/>
            <a:ext cx="288000" cy="288000"/>
          </a:xfrm>
          <a:prstGeom prst="diagStripe">
            <a:avLst/>
          </a:prstGeom>
          <a:solidFill>
            <a:schemeClr val="tx1">
              <a:lumMod val="85000"/>
              <a:lumOff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Diagonal Stripe 34"/>
          <p:cNvSpPr/>
          <p:nvPr/>
        </p:nvSpPr>
        <p:spPr>
          <a:xfrm>
            <a:off x="3215897" y="4397828"/>
            <a:ext cx="288000" cy="288000"/>
          </a:xfrm>
          <a:prstGeom prst="diagStripe">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Diagonal Stripe 35"/>
          <p:cNvSpPr/>
          <p:nvPr/>
        </p:nvSpPr>
        <p:spPr>
          <a:xfrm flipV="1">
            <a:off x="3215720" y="4077920"/>
            <a:ext cx="288000" cy="288000"/>
          </a:xfrm>
          <a:prstGeom prst="diagStrip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554520" y="4261481"/>
            <a:ext cx="2340000" cy="2185214"/>
          </a:xfrm>
          <a:prstGeom prst="rect">
            <a:avLst/>
          </a:prstGeom>
        </p:spPr>
        <p:txBody>
          <a:bodyPr wrap="square">
            <a:spAutoFit/>
          </a:bodyPr>
          <a:lstStyle/>
          <a:p>
            <a:pPr marL="0" lvl="2">
              <a:spcBef>
                <a:spcPts val="600"/>
              </a:spcBef>
              <a:buSzPct val="100000"/>
            </a:pPr>
            <a:r>
              <a:rPr lang="es-CO" altLang="ja-JP" sz="1050" b="1" dirty="0">
                <a:solidFill>
                  <a:srgbClr val="53565A"/>
                </a:solidFill>
                <a:ea typeface="ＭＳ Ｐゴシック" pitchFamily="50" charset="-128"/>
              </a:rPr>
              <a:t>¿Cuándo?</a:t>
            </a:r>
            <a:endParaRPr lang="en-US" altLang="ja-JP" sz="1050" b="1" dirty="0">
              <a:solidFill>
                <a:srgbClr val="53565A"/>
              </a:solidFill>
              <a:ea typeface="ＭＳ Ｐゴシック" pitchFamily="50" charset="-128"/>
            </a:endParaRPr>
          </a:p>
          <a:p>
            <a:pPr marL="0" lvl="2">
              <a:spcBef>
                <a:spcPts val="600"/>
              </a:spcBef>
              <a:buSzPct val="100000"/>
            </a:pPr>
            <a:r>
              <a:rPr lang="es-CO" sz="1050" dirty="0"/>
              <a:t>Cuando al concesionario no le sea posible iniciar operación, dentro de los seis (6) meses siguientes a partir de la fecha de ejecutoriado el acto administrativo que autoriza su funcionamiento.</a:t>
            </a:r>
          </a:p>
          <a:p>
            <a:pPr marL="0" lvl="2">
              <a:spcBef>
                <a:spcPts val="600"/>
              </a:spcBef>
              <a:buSzPct val="100000"/>
            </a:pPr>
            <a:r>
              <a:rPr lang="es-CO" sz="1050" dirty="0"/>
              <a:t>El concesionario podrá solicitar, por una sola vez, prórroga para iniciar la operación por seis (6) meses más.</a:t>
            </a:r>
          </a:p>
        </p:txBody>
      </p:sp>
      <p:sp>
        <p:nvSpPr>
          <p:cNvPr id="37" name="Diagonal Stripe 36"/>
          <p:cNvSpPr/>
          <p:nvPr/>
        </p:nvSpPr>
        <p:spPr>
          <a:xfrm>
            <a:off x="240657" y="4428345"/>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247020" y="4109365"/>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pic>
        <p:nvPicPr>
          <p:cNvPr id="7" name="Picture 6"/>
          <p:cNvPicPr>
            <a:picLocks noChangeAspect="1"/>
          </p:cNvPicPr>
          <p:nvPr/>
        </p:nvPicPr>
        <p:blipFill>
          <a:blip r:embed="rId3"/>
          <a:stretch>
            <a:fillRect/>
          </a:stretch>
        </p:blipFill>
        <p:spPr>
          <a:xfrm>
            <a:off x="7804762" y="0"/>
            <a:ext cx="1237595" cy="1274174"/>
          </a:xfrm>
          <a:prstGeom prst="rect">
            <a:avLst/>
          </a:prstGeom>
        </p:spPr>
      </p:pic>
      <p:grpSp>
        <p:nvGrpSpPr>
          <p:cNvPr id="53" name="Group 52"/>
          <p:cNvGrpSpPr/>
          <p:nvPr/>
        </p:nvGrpSpPr>
        <p:grpSpPr>
          <a:xfrm>
            <a:off x="8166023" y="355987"/>
            <a:ext cx="540000" cy="540000"/>
            <a:chOff x="4249972" y="3438204"/>
            <a:chExt cx="230095" cy="222497"/>
          </a:xfrm>
          <a:solidFill>
            <a:schemeClr val="bg1"/>
          </a:solidFill>
        </p:grpSpPr>
        <p:sp>
          <p:nvSpPr>
            <p:cNvPr id="54" name="Freeform 433"/>
            <p:cNvSpPr>
              <a:spLocks noEditPoints="1"/>
            </p:cNvSpPr>
            <p:nvPr/>
          </p:nvSpPr>
          <p:spPr bwMode="auto">
            <a:xfrm>
              <a:off x="4342227" y="3498984"/>
              <a:ext cx="45585" cy="46670"/>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434"/>
            <p:cNvSpPr>
              <a:spLocks/>
            </p:cNvSpPr>
            <p:nvPr/>
          </p:nvSpPr>
          <p:spPr bwMode="auto">
            <a:xfrm>
              <a:off x="4249972" y="3438204"/>
              <a:ext cx="230095" cy="199705"/>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35"/>
            <p:cNvSpPr>
              <a:spLocks noEditPoints="1"/>
            </p:cNvSpPr>
            <p:nvPr/>
          </p:nvSpPr>
          <p:spPr bwMode="auto">
            <a:xfrm>
              <a:off x="4333544" y="3553251"/>
              <a:ext cx="61865" cy="107450"/>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36"/>
            <p:cNvSpPr>
              <a:spLocks/>
            </p:cNvSpPr>
            <p:nvPr/>
          </p:nvSpPr>
          <p:spPr bwMode="auto">
            <a:xfrm>
              <a:off x="4280362" y="3468594"/>
              <a:ext cx="169316" cy="147608"/>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32406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6239" y="3227294"/>
            <a:ext cx="6396702" cy="3154457"/>
          </a:xfrm>
        </p:spPr>
        <p:txBody>
          <a:bodyPr>
            <a:noAutofit/>
          </a:bodyPr>
          <a:lstStyle/>
          <a:p>
            <a:r>
              <a:rPr lang="es-CO" sz="800" dirty="0"/>
              <a:t>Deloitte se refiere a una o más de las firmas miembro de Deloitte Touche Tohmatsu Limited (“DTTL”), una compañía privada del Reino Unido limitada por garantía ("DTTL"),  su red de firmas miembro, y a sus entidades relacionadas. DTTL y cada una de sus firmas miembro son entidades legalmente separadas e independientes. DTTL (también denominada “Deloitte Global”) no presta servicios a clientes. Una descripción detallada de la estructura legal de Deloitte Touche Tohmatsu Limited y  de sus firmas miembro puede verse en el sitio web </a:t>
            </a:r>
            <a:r>
              <a:rPr lang="es-CO" sz="800" b="1" u="sng" dirty="0">
                <a:solidFill>
                  <a:srgbClr val="00A3E0"/>
                </a:solidFill>
              </a:rPr>
              <a:t>www.deloitte.com/about</a:t>
            </a:r>
            <a:r>
              <a:rPr lang="es-CO" sz="800" dirty="0"/>
              <a:t>.   </a:t>
            </a:r>
          </a:p>
          <a:p>
            <a:r>
              <a:rPr lang="es-CO" sz="800" dirty="0"/>
              <a:t>Deloitte presta servicios de auditoría, consultoría, asesoramiento financiero, gestión de riesgos, impuestos, legal,  y servicios relacionados a organizaciones públicas y privadas de diversas industrias. Deloitte presta sus servicios a cuatro de cada cinco de las empresas listadas en el ranking Fortune Global 500®,  a través de una red global de firmas miembro en más de 150 países, brindando sus capacidades de clase mundial y servicios de alta calidad a clientes, suministrando el conocimiento necesario para que los mismos puedan hacer frente a sus más complejos retos de negocios. Para conocer más acerca de cómo los más de 225.000 profesionales generan un impacto que trasciende, conéctese con nosotros a través de Facebook, LinkedIn o Twitter.</a:t>
            </a:r>
          </a:p>
          <a:p>
            <a:r>
              <a:rPr lang="es-CO" sz="800" dirty="0"/>
              <a:t>Esta comunicación contiene únicamente información general, ni Deloitte Touche Tohmatsu Limited, ni sus firmas miembro o sus entidades relacionadas (colectivamente, la "Red Deloitte") están, por medio de la presente comunicación, prestando asesoría o servicios profesionales. Previo a la toma de cualquier decisión o ejecución de acciones que puedan afectar sus finanzas o negocios, usted deberá consultar un asesor profesional cualificado. Ninguna entidad de la Red Deloitte se hace responsable por pérdidas que pueda sufrir cualquier persona que tome como base el contenido de esta comunicación.</a:t>
            </a:r>
          </a:p>
          <a:p>
            <a:r>
              <a:rPr lang="es-CO" sz="800" dirty="0"/>
              <a:t>©2017 Deloitte Touche Tohmatsu Limited</a:t>
            </a:r>
          </a:p>
        </p:txBody>
      </p:sp>
      <p:pic>
        <p:nvPicPr>
          <p:cNvPr id="6" name="Picture 5"/>
          <p:cNvPicPr>
            <a:picLocks noChangeAspect="1"/>
          </p:cNvPicPr>
          <p:nvPr/>
        </p:nvPicPr>
        <p:blipFill>
          <a:blip r:embed="rId3"/>
          <a:stretch>
            <a:fillRect/>
          </a:stretch>
        </p:blipFill>
        <p:spPr>
          <a:xfrm>
            <a:off x="200957" y="127615"/>
            <a:ext cx="6162675" cy="885825"/>
          </a:xfrm>
          <a:prstGeom prst="rect">
            <a:avLst/>
          </a:prstGeom>
        </p:spPr>
      </p:pic>
      <p:grpSp>
        <p:nvGrpSpPr>
          <p:cNvPr id="8" name="Group 7"/>
          <p:cNvGrpSpPr/>
          <p:nvPr/>
        </p:nvGrpSpPr>
        <p:grpSpPr>
          <a:xfrm>
            <a:off x="6788496" y="398116"/>
            <a:ext cx="1795946" cy="344822"/>
            <a:chOff x="398463" y="404813"/>
            <a:chExt cx="1627187" cy="307976"/>
          </a:xfrm>
          <a:solidFill>
            <a:schemeClr val="tx1"/>
          </a:solidFill>
        </p:grpSpPr>
        <p:sp>
          <p:nvSpPr>
            <p:cNvPr id="9"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dirty="0">
                <a:solidFill>
                  <a:prstClr val="white"/>
                </a:solidFill>
              </a:endParaRPr>
            </a:p>
          </p:txBody>
        </p:sp>
      </p:grpSp>
    </p:spTree>
    <p:extLst>
      <p:ext uri="{BB962C8B-B14F-4D97-AF65-F5344CB8AC3E}">
        <p14:creationId xmlns:p14="http://schemas.microsoft.com/office/powerpoint/2010/main" val="337809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3"/>
          <p:cNvGraphicFramePr>
            <a:graphicFrameLocks noGrp="1"/>
          </p:cNvGraphicFramePr>
          <p:nvPr>
            <p:extLst>
              <p:ext uri="{D42A27DB-BD31-4B8C-83A1-F6EECF244321}">
                <p14:modId xmlns:p14="http://schemas.microsoft.com/office/powerpoint/2010/main" val="2479352510"/>
              </p:ext>
            </p:extLst>
          </p:nvPr>
        </p:nvGraphicFramePr>
        <p:xfrm>
          <a:off x="551603" y="1245478"/>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1761">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1"/>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bg1"/>
                          </a:solidFill>
                          <a:effectLst/>
                          <a:latin typeface="+mn-lt"/>
                        </a:rPr>
                        <a:t>2</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bg1"/>
                          </a:solidFill>
                          <a:effectLst/>
                          <a:latin typeface="+mn-lt"/>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bg1"/>
                          </a:solidFill>
                          <a:effectLst/>
                          <a:latin typeface="+mn-lt"/>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2"/>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9</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3"/>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6</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4"/>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3</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5"/>
                  </a:ext>
                </a:extLst>
              </a:tr>
              <a:tr h="181761">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30</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3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106" name="Rectangle 3">
            <a:hlinkClick r:id="rId2" action="ppaction://hlinksldjump"/>
          </p:cNvPr>
          <p:cNvSpPr>
            <a:spLocks noChangeArrowheads="1"/>
          </p:cNvSpPr>
          <p:nvPr/>
        </p:nvSpPr>
        <p:spPr bwMode="auto">
          <a:xfrm>
            <a:off x="683391" y="1110507"/>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Enero</a:t>
            </a:r>
          </a:p>
        </p:txBody>
      </p:sp>
      <p:sp>
        <p:nvSpPr>
          <p:cNvPr id="107" name="Rectangle 5">
            <a:hlinkClick r:id="rId2" action="ppaction://hlinksldjump"/>
          </p:cNvPr>
          <p:cNvSpPr>
            <a:spLocks noChangeArrowheads="1"/>
          </p:cNvSpPr>
          <p:nvPr/>
        </p:nvSpPr>
        <p:spPr bwMode="auto">
          <a:xfrm>
            <a:off x="2815454" y="1110507"/>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Febrero</a:t>
            </a:r>
          </a:p>
        </p:txBody>
      </p:sp>
      <p:sp>
        <p:nvSpPr>
          <p:cNvPr id="108" name="Rectangle 6">
            <a:hlinkClick r:id="rId2" action="ppaction://hlinksldjump"/>
          </p:cNvPr>
          <p:cNvSpPr>
            <a:spLocks noChangeArrowheads="1"/>
          </p:cNvSpPr>
          <p:nvPr/>
        </p:nvSpPr>
        <p:spPr bwMode="auto">
          <a:xfrm>
            <a:off x="4923072" y="1110507"/>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Marzo</a:t>
            </a:r>
          </a:p>
        </p:txBody>
      </p:sp>
      <p:sp>
        <p:nvSpPr>
          <p:cNvPr id="109" name="Rectangle 7"/>
          <p:cNvSpPr>
            <a:spLocks noChangeArrowheads="1"/>
          </p:cNvSpPr>
          <p:nvPr/>
        </p:nvSpPr>
        <p:spPr bwMode="auto">
          <a:xfrm>
            <a:off x="7030648" y="1110507"/>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Abril</a:t>
            </a:r>
          </a:p>
        </p:txBody>
      </p:sp>
      <p:sp>
        <p:nvSpPr>
          <p:cNvPr id="110" name="Rectangle 8"/>
          <p:cNvSpPr>
            <a:spLocks noChangeArrowheads="1"/>
          </p:cNvSpPr>
          <p:nvPr/>
        </p:nvSpPr>
        <p:spPr bwMode="auto">
          <a:xfrm>
            <a:off x="697385" y="2593858"/>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Mayo</a:t>
            </a:r>
          </a:p>
        </p:txBody>
      </p:sp>
      <p:sp>
        <p:nvSpPr>
          <p:cNvPr id="111" name="Rectangle 9"/>
          <p:cNvSpPr>
            <a:spLocks noChangeArrowheads="1"/>
          </p:cNvSpPr>
          <p:nvPr/>
        </p:nvSpPr>
        <p:spPr bwMode="auto">
          <a:xfrm>
            <a:off x="2815456" y="2593858"/>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Junio</a:t>
            </a:r>
          </a:p>
        </p:txBody>
      </p:sp>
      <p:sp>
        <p:nvSpPr>
          <p:cNvPr id="112" name="Rectangle 9"/>
          <p:cNvSpPr>
            <a:spLocks noChangeArrowheads="1"/>
          </p:cNvSpPr>
          <p:nvPr/>
        </p:nvSpPr>
        <p:spPr bwMode="auto">
          <a:xfrm>
            <a:off x="4927284" y="2593858"/>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Julio</a:t>
            </a:r>
          </a:p>
        </p:txBody>
      </p:sp>
      <p:sp>
        <p:nvSpPr>
          <p:cNvPr id="113" name="Rectangle 9"/>
          <p:cNvSpPr>
            <a:spLocks noChangeArrowheads="1"/>
          </p:cNvSpPr>
          <p:nvPr/>
        </p:nvSpPr>
        <p:spPr bwMode="auto">
          <a:xfrm>
            <a:off x="7030648" y="2593858"/>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Agosto</a:t>
            </a:r>
          </a:p>
        </p:txBody>
      </p:sp>
      <p:sp>
        <p:nvSpPr>
          <p:cNvPr id="114" name="Rectangle 9"/>
          <p:cNvSpPr>
            <a:spLocks noChangeArrowheads="1"/>
          </p:cNvSpPr>
          <p:nvPr/>
        </p:nvSpPr>
        <p:spPr bwMode="auto">
          <a:xfrm>
            <a:off x="685524" y="4052373"/>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Septiembre</a:t>
            </a:r>
          </a:p>
        </p:txBody>
      </p:sp>
      <p:sp>
        <p:nvSpPr>
          <p:cNvPr id="115" name="Rectangle 9"/>
          <p:cNvSpPr>
            <a:spLocks noChangeArrowheads="1"/>
          </p:cNvSpPr>
          <p:nvPr/>
        </p:nvSpPr>
        <p:spPr bwMode="auto">
          <a:xfrm>
            <a:off x="4927284" y="4052373"/>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Noviembre</a:t>
            </a:r>
          </a:p>
        </p:txBody>
      </p:sp>
      <p:sp>
        <p:nvSpPr>
          <p:cNvPr id="116" name="Rectangle 9"/>
          <p:cNvSpPr>
            <a:spLocks noChangeArrowheads="1"/>
          </p:cNvSpPr>
          <p:nvPr/>
        </p:nvSpPr>
        <p:spPr bwMode="auto">
          <a:xfrm>
            <a:off x="2815456" y="4052373"/>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Octubre</a:t>
            </a:r>
          </a:p>
        </p:txBody>
      </p:sp>
      <p:sp>
        <p:nvSpPr>
          <p:cNvPr id="117" name="Rectangle 9"/>
          <p:cNvSpPr>
            <a:spLocks noChangeArrowheads="1"/>
          </p:cNvSpPr>
          <p:nvPr/>
        </p:nvSpPr>
        <p:spPr bwMode="auto">
          <a:xfrm>
            <a:off x="7040273" y="4052373"/>
            <a:ext cx="1280160" cy="116955"/>
          </a:xfrm>
          <a:prstGeom prst="rect">
            <a:avLst/>
          </a:prstGeom>
          <a:noFill/>
          <a:ln w="12700" algn="ctr">
            <a:noFill/>
            <a:miter lim="800000"/>
            <a:headEnd/>
            <a:tailEnd/>
          </a:ln>
        </p:spPr>
        <p:txBody>
          <a:bodyPr wrap="square" lIns="0" tIns="0" rIns="0" bIns="0">
            <a:spAutoFit/>
          </a:bodyPr>
          <a:lstStyle/>
          <a:p>
            <a:pPr algn="ctr" defTabSz="761981">
              <a:lnSpc>
                <a:spcPct val="95000"/>
              </a:lnSpc>
            </a:pPr>
            <a:r>
              <a:rPr lang="es-CO" sz="800" b="1" dirty="0">
                <a:solidFill>
                  <a:prstClr val="black"/>
                </a:solidFill>
                <a:ea typeface="Open Sans" panose="020B0606030504020204" pitchFamily="34" charset="0"/>
                <a:cs typeface="Open Sans" panose="020B0606030504020204" pitchFamily="34" charset="0"/>
              </a:rPr>
              <a:t>Diciembre</a:t>
            </a:r>
          </a:p>
        </p:txBody>
      </p:sp>
      <p:sp>
        <p:nvSpPr>
          <p:cNvPr id="33" name="Rectangle 32"/>
          <p:cNvSpPr/>
          <p:nvPr/>
        </p:nvSpPr>
        <p:spPr>
          <a:xfrm>
            <a:off x="1801163" y="336003"/>
            <a:ext cx="5561293" cy="523220"/>
          </a:xfrm>
          <a:prstGeom prst="rect">
            <a:avLst/>
          </a:prstGeom>
        </p:spPr>
        <p:txBody>
          <a:bodyPr wrap="square">
            <a:spAutoFit/>
          </a:bodyPr>
          <a:lstStyle/>
          <a:p>
            <a:pPr algn="ctr">
              <a:spcBef>
                <a:spcPct val="0"/>
              </a:spcBef>
            </a:pPr>
            <a:r>
              <a:rPr lang="es-ES" sz="1400" b="1" dirty="0">
                <a:ea typeface="Open Sans" panose="020B0606030504020204" pitchFamily="34" charset="0"/>
                <a:cs typeface="Open Sans" panose="020B0606030504020204" pitchFamily="34" charset="0"/>
              </a:rPr>
              <a:t>Calendario para el Cumplimiento de Obligaciones de los Concesionarios de RDS</a:t>
            </a:r>
          </a:p>
        </p:txBody>
      </p:sp>
      <p:sp>
        <p:nvSpPr>
          <p:cNvPr id="34" name="Rectángulo redondeado 3">
            <a:hlinkClick r:id="rId3" action="ppaction://hlinksldjump"/>
          </p:cNvPr>
          <p:cNvSpPr/>
          <p:nvPr/>
        </p:nvSpPr>
        <p:spPr bwMode="gray">
          <a:xfrm>
            <a:off x="126004" y="5540887"/>
            <a:ext cx="8843481" cy="186376"/>
          </a:xfrm>
          <a:prstGeom prst="roundRect">
            <a:avLst/>
          </a:prstGeom>
          <a:solidFill>
            <a:schemeClr val="tx1"/>
          </a:solidFill>
          <a:ln>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s-CO" sz="1050" b="1" dirty="0">
                <a:ln w="0"/>
                <a:solidFill>
                  <a:prstClr val="white"/>
                </a:solidFill>
                <a:effectLst>
                  <a:outerShdw blurRad="38100" dist="19050" dir="2700000" algn="tl" rotWithShape="0">
                    <a:prstClr val="black">
                      <a:alpha val="40000"/>
                    </a:prstClr>
                  </a:outerShdw>
                </a:effectLst>
              </a:rPr>
              <a:t>Obligaciones permanentes</a:t>
            </a:r>
            <a:endParaRPr lang="es-CO" sz="1050" b="1" dirty="0">
              <a:solidFill>
                <a:prstClr val="white"/>
              </a:solidFill>
            </a:endParaRPr>
          </a:p>
        </p:txBody>
      </p:sp>
      <p:graphicFrame>
        <p:nvGraphicFramePr>
          <p:cNvPr id="43" name="Group 3"/>
          <p:cNvGraphicFramePr>
            <a:graphicFrameLocks noGrp="1"/>
          </p:cNvGraphicFramePr>
          <p:nvPr>
            <p:extLst>
              <p:ext uri="{D42A27DB-BD31-4B8C-83A1-F6EECF244321}">
                <p14:modId xmlns:p14="http://schemas.microsoft.com/office/powerpoint/2010/main" val="3333458586"/>
              </p:ext>
            </p:extLst>
          </p:nvPr>
        </p:nvGraphicFramePr>
        <p:xfrm>
          <a:off x="2681535" y="1245478"/>
          <a:ext cx="1547998"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4">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1">
                  <a:extLst>
                    <a:ext uri="{9D8B030D-6E8A-4147-A177-3AD203B41FA5}">
                      <a16:colId xmlns:a16="http://schemas.microsoft.com/office/drawing/2014/main" val="20004"/>
                    </a:ext>
                  </a:extLst>
                </a:gridCol>
                <a:gridCol w="221081">
                  <a:extLst>
                    <a:ext uri="{9D8B030D-6E8A-4147-A177-3AD203B41FA5}">
                      <a16:colId xmlns:a16="http://schemas.microsoft.com/office/drawing/2014/main" val="20005"/>
                    </a:ext>
                  </a:extLst>
                </a:gridCol>
                <a:gridCol w="221081">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bg1"/>
                          </a:solidFill>
                          <a:effectLst/>
                          <a:latin typeface="+mn-lt"/>
                        </a:rPr>
                        <a:t>6</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bg1"/>
                          </a:solidFill>
                          <a:effectLst/>
                          <a:latin typeface="+mn-lt"/>
                        </a:rPr>
                        <a:t>7</a:t>
                      </a:r>
                      <a:endParaRPr kumimoji="0" lang="en-US" sz="700" b="0" i="0" u="none" strike="noStrike" cap="none" normalizeH="0" baseline="0" dirty="0">
                        <a:ln>
                          <a:noFill/>
                        </a:ln>
                        <a:solidFill>
                          <a:schemeClr val="bg1"/>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bg1"/>
                          </a:solidFill>
                          <a:effectLst/>
                          <a:latin typeface="+mn-lt"/>
                        </a:rPr>
                        <a:t>8</a:t>
                      </a:r>
                      <a:endParaRPr kumimoji="0" lang="en-US" sz="700" b="0" i="0" u="none" strike="noStrike" cap="none" normalizeH="0" baseline="0" dirty="0">
                        <a:ln>
                          <a:noFill/>
                        </a:ln>
                        <a:solidFill>
                          <a:schemeClr val="bg1"/>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9</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3</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0</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1</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2</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3</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44" name="Group 3"/>
          <p:cNvGraphicFramePr>
            <a:graphicFrameLocks noGrp="1"/>
          </p:cNvGraphicFramePr>
          <p:nvPr>
            <p:extLst>
              <p:ext uri="{D42A27DB-BD31-4B8C-83A1-F6EECF244321}">
                <p14:modId xmlns:p14="http://schemas.microsoft.com/office/powerpoint/2010/main" val="3112173829"/>
              </p:ext>
            </p:extLst>
          </p:nvPr>
        </p:nvGraphicFramePr>
        <p:xfrm>
          <a:off x="4789153" y="1245478"/>
          <a:ext cx="1547998"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4">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1">
                  <a:extLst>
                    <a:ext uri="{9D8B030D-6E8A-4147-A177-3AD203B41FA5}">
                      <a16:colId xmlns:a16="http://schemas.microsoft.com/office/drawing/2014/main" val="20004"/>
                    </a:ext>
                  </a:extLst>
                </a:gridCol>
                <a:gridCol w="221081">
                  <a:extLst>
                    <a:ext uri="{9D8B030D-6E8A-4147-A177-3AD203B41FA5}">
                      <a16:colId xmlns:a16="http://schemas.microsoft.com/office/drawing/2014/main" val="20005"/>
                    </a:ext>
                  </a:extLst>
                </a:gridCol>
                <a:gridCol w="221081">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bg1"/>
                          </a:solidFill>
                          <a:effectLst/>
                          <a:latin typeface="+mn-lt"/>
                        </a:rPr>
                        <a:t>6</a:t>
                      </a:r>
                      <a:endParaRPr kumimoji="0" lang="en-US" sz="700" b="0" i="0" u="none" strike="noStrike" cap="none" normalizeH="0" baseline="0" dirty="0">
                        <a:ln>
                          <a:noFill/>
                        </a:ln>
                        <a:solidFill>
                          <a:schemeClr val="bg1"/>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bg1"/>
                          </a:solidFill>
                          <a:effectLst/>
                          <a:latin typeface="+mn-lt"/>
                        </a:rPr>
                        <a:t>7</a:t>
                      </a:r>
                      <a:endParaRPr kumimoji="0" lang="en-US" sz="700" b="0" i="0" u="none" strike="noStrike" cap="none" normalizeH="0" baseline="0" dirty="0">
                        <a:ln>
                          <a:noFill/>
                        </a:ln>
                        <a:solidFill>
                          <a:schemeClr val="bg1"/>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bg1"/>
                          </a:solidFill>
                          <a:effectLst/>
                          <a:latin typeface="+mn-lt"/>
                        </a:rPr>
                        <a:t>8</a:t>
                      </a:r>
                      <a:endParaRPr kumimoji="0" lang="en-US" sz="700" b="0" i="0" u="none" strike="noStrike" cap="none" normalizeH="0" baseline="0" dirty="0">
                        <a:ln>
                          <a:noFill/>
                        </a:ln>
                        <a:solidFill>
                          <a:schemeClr val="bg1"/>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9</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3</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0</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1</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2</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3</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bg1"/>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30</a:t>
                      </a:r>
                      <a:endParaRPr kumimoji="0" lang="en-US" sz="700" b="0" i="0" u="none" strike="noStrike" kern="1200" cap="none" normalizeH="0" baseline="0" dirty="0">
                        <a:ln>
                          <a:noFill/>
                        </a:ln>
                        <a:solidFill>
                          <a:schemeClr val="bg1"/>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bg1"/>
                          </a:solidFill>
                          <a:effectLst/>
                          <a:latin typeface="+mn-lt"/>
                          <a:ea typeface="+mn-ea"/>
                          <a:cs typeface="+mn-cs"/>
                        </a:rPr>
                        <a:t>3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45" name="Group 3"/>
          <p:cNvGraphicFramePr>
            <a:graphicFrameLocks noGrp="1"/>
          </p:cNvGraphicFramePr>
          <p:nvPr>
            <p:extLst>
              <p:ext uri="{D42A27DB-BD31-4B8C-83A1-F6EECF244321}">
                <p14:modId xmlns:p14="http://schemas.microsoft.com/office/powerpoint/2010/main" val="3725771167"/>
              </p:ext>
            </p:extLst>
          </p:nvPr>
        </p:nvGraphicFramePr>
        <p:xfrm>
          <a:off x="6896727" y="1245478"/>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1761">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3</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4</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5</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6</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7209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r h="181761">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46" name="Group 3"/>
          <p:cNvGraphicFramePr>
            <a:graphicFrameLocks noGrp="1"/>
          </p:cNvGraphicFramePr>
          <p:nvPr>
            <p:extLst>
              <p:ext uri="{D42A27DB-BD31-4B8C-83A1-F6EECF244321}">
                <p14:modId xmlns:p14="http://schemas.microsoft.com/office/powerpoint/2010/main" val="138551439"/>
              </p:ext>
            </p:extLst>
          </p:nvPr>
        </p:nvGraphicFramePr>
        <p:xfrm>
          <a:off x="551603" y="2707564"/>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4</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8</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9</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10</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5</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48" name="Group 3"/>
          <p:cNvGraphicFramePr>
            <a:graphicFrameLocks noGrp="1"/>
          </p:cNvGraphicFramePr>
          <p:nvPr>
            <p:extLst>
              <p:ext uri="{D42A27DB-BD31-4B8C-83A1-F6EECF244321}">
                <p14:modId xmlns:p14="http://schemas.microsoft.com/office/powerpoint/2010/main" val="11319094"/>
              </p:ext>
            </p:extLst>
          </p:nvPr>
        </p:nvGraphicFramePr>
        <p:xfrm>
          <a:off x="2681535" y="2707564"/>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5</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6</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7</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1" name="Group 3"/>
          <p:cNvGraphicFramePr>
            <a:graphicFrameLocks noGrp="1"/>
          </p:cNvGraphicFramePr>
          <p:nvPr>
            <p:extLst>
              <p:ext uri="{D42A27DB-BD31-4B8C-83A1-F6EECF244321}">
                <p14:modId xmlns:p14="http://schemas.microsoft.com/office/powerpoint/2010/main" val="2399415258"/>
              </p:ext>
            </p:extLst>
          </p:nvPr>
        </p:nvGraphicFramePr>
        <p:xfrm>
          <a:off x="4793363" y="4161533"/>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6</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7</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8</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2" name="Group 3"/>
          <p:cNvGraphicFramePr>
            <a:graphicFrameLocks noGrp="1"/>
          </p:cNvGraphicFramePr>
          <p:nvPr>
            <p:extLst>
              <p:ext uri="{D42A27DB-BD31-4B8C-83A1-F6EECF244321}">
                <p14:modId xmlns:p14="http://schemas.microsoft.com/office/powerpoint/2010/main" val="2103989851"/>
              </p:ext>
            </p:extLst>
          </p:nvPr>
        </p:nvGraphicFramePr>
        <p:xfrm>
          <a:off x="6896727" y="2707564"/>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7</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8</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9</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4" name="Group 3"/>
          <p:cNvGraphicFramePr>
            <a:graphicFrameLocks noGrp="1"/>
          </p:cNvGraphicFramePr>
          <p:nvPr>
            <p:extLst>
              <p:ext uri="{D42A27DB-BD31-4B8C-83A1-F6EECF244321}">
                <p14:modId xmlns:p14="http://schemas.microsoft.com/office/powerpoint/2010/main" val="380300720"/>
              </p:ext>
            </p:extLst>
          </p:nvPr>
        </p:nvGraphicFramePr>
        <p:xfrm>
          <a:off x="4793363" y="2707564"/>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3</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4</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5</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6</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5" name="Group 3"/>
          <p:cNvGraphicFramePr>
            <a:graphicFrameLocks noGrp="1"/>
          </p:cNvGraphicFramePr>
          <p:nvPr>
            <p:extLst>
              <p:ext uri="{D42A27DB-BD31-4B8C-83A1-F6EECF244321}">
                <p14:modId xmlns:p14="http://schemas.microsoft.com/office/powerpoint/2010/main" val="3478874506"/>
              </p:ext>
            </p:extLst>
          </p:nvPr>
        </p:nvGraphicFramePr>
        <p:xfrm>
          <a:off x="551603" y="4168912"/>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4</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5</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6</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074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033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6" name="Group 3"/>
          <p:cNvGraphicFramePr>
            <a:graphicFrameLocks noGrp="1"/>
          </p:cNvGraphicFramePr>
          <p:nvPr>
            <p:extLst>
              <p:ext uri="{D42A27DB-BD31-4B8C-83A1-F6EECF244321}">
                <p14:modId xmlns:p14="http://schemas.microsoft.com/office/powerpoint/2010/main" val="1335111254"/>
              </p:ext>
            </p:extLst>
          </p:nvPr>
        </p:nvGraphicFramePr>
        <p:xfrm>
          <a:off x="2681535" y="4156041"/>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tx1">
                              <a:lumMod val="65000"/>
                              <a:lumOff val="35000"/>
                            </a:schemeClr>
                          </a:solidFill>
                          <a:effectLst/>
                          <a:latin typeface="+mn-lt"/>
                        </a:rPr>
                        <a:t>2</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tx1">
                              <a:lumMod val="65000"/>
                              <a:lumOff val="35000"/>
                            </a:schemeClr>
                          </a:solidFill>
                          <a:effectLst/>
                          <a:latin typeface="+mn-lt"/>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chemeClr val="tx1">
                              <a:lumMod val="65000"/>
                              <a:lumOff val="35000"/>
                            </a:schemeClr>
                          </a:solidFill>
                          <a:effectLst/>
                          <a:latin typeface="+mn-lt"/>
                        </a:rPr>
                        <a:t>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72927">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r h="17968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3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7" name="Group 3"/>
          <p:cNvGraphicFramePr>
            <a:graphicFrameLocks noGrp="1"/>
          </p:cNvGraphicFramePr>
          <p:nvPr>
            <p:extLst>
              <p:ext uri="{D42A27DB-BD31-4B8C-83A1-F6EECF244321}">
                <p14:modId xmlns:p14="http://schemas.microsoft.com/office/powerpoint/2010/main" val="2376655383"/>
              </p:ext>
            </p:extLst>
          </p:nvPr>
        </p:nvGraphicFramePr>
        <p:xfrm>
          <a:off x="6906352" y="4161531"/>
          <a:ext cx="1548002" cy="1295658"/>
        </p:xfrm>
        <a:graphic>
          <a:graphicData uri="http://schemas.openxmlformats.org/drawingml/2006/table">
            <a:tbl>
              <a:tblPr/>
              <a:tblGrid>
                <a:gridCol w="218516">
                  <a:extLst>
                    <a:ext uri="{9D8B030D-6E8A-4147-A177-3AD203B41FA5}">
                      <a16:colId xmlns:a16="http://schemas.microsoft.com/office/drawing/2014/main" val="20000"/>
                    </a:ext>
                  </a:extLst>
                </a:gridCol>
                <a:gridCol w="224075">
                  <a:extLst>
                    <a:ext uri="{9D8B030D-6E8A-4147-A177-3AD203B41FA5}">
                      <a16:colId xmlns:a16="http://schemas.microsoft.com/office/drawing/2014/main" val="20001"/>
                    </a:ext>
                  </a:extLst>
                </a:gridCol>
                <a:gridCol w="220655">
                  <a:extLst>
                    <a:ext uri="{9D8B030D-6E8A-4147-A177-3AD203B41FA5}">
                      <a16:colId xmlns:a16="http://schemas.microsoft.com/office/drawing/2014/main" val="20002"/>
                    </a:ext>
                  </a:extLst>
                </a:gridCol>
                <a:gridCol w="221510">
                  <a:extLst>
                    <a:ext uri="{9D8B030D-6E8A-4147-A177-3AD203B41FA5}">
                      <a16:colId xmlns:a16="http://schemas.microsoft.com/office/drawing/2014/main" val="20003"/>
                    </a:ext>
                  </a:extLst>
                </a:gridCol>
                <a:gridCol w="221082">
                  <a:extLst>
                    <a:ext uri="{9D8B030D-6E8A-4147-A177-3AD203B41FA5}">
                      <a16:colId xmlns:a16="http://schemas.microsoft.com/office/drawing/2014/main" val="20004"/>
                    </a:ext>
                  </a:extLst>
                </a:gridCol>
                <a:gridCol w="221082">
                  <a:extLst>
                    <a:ext uri="{9D8B030D-6E8A-4147-A177-3AD203B41FA5}">
                      <a16:colId xmlns:a16="http://schemas.microsoft.com/office/drawing/2014/main" val="20005"/>
                    </a:ext>
                  </a:extLst>
                </a:gridCol>
                <a:gridCol w="221082">
                  <a:extLst>
                    <a:ext uri="{9D8B030D-6E8A-4147-A177-3AD203B41FA5}">
                      <a16:colId xmlns:a16="http://schemas.microsoft.com/office/drawing/2014/main" val="20006"/>
                    </a:ext>
                  </a:extLst>
                </a:gridCol>
              </a:tblGrid>
              <a:tr h="167034">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Lu</a:t>
                      </a:r>
                    </a:p>
                  </a:txBody>
                  <a:tcPr marL="36000" marR="36000" marT="36000" marB="36000" anchor="b"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a</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M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Ju</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53565A"/>
                          </a:solidFill>
                          <a:effectLst/>
                          <a:latin typeface="+mn-lt"/>
                        </a:rPr>
                        <a:t>Vi</a:t>
                      </a: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Sa</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rgbClr val="53565A"/>
                          </a:solidFill>
                          <a:effectLst/>
                          <a:latin typeface="+mn-lt"/>
                        </a:rPr>
                        <a:t>Do</a:t>
                      </a:r>
                      <a:endParaRPr kumimoji="0" lang="en-US" sz="700" b="0" i="0" u="none" strike="noStrike" cap="none" normalizeH="0" baseline="0" dirty="0">
                        <a:ln>
                          <a:noFill/>
                        </a:ln>
                        <a:solidFill>
                          <a:srgbClr val="53565A"/>
                        </a:solidFill>
                        <a:effectLst/>
                        <a:latin typeface="+mn-lt"/>
                      </a:endParaRPr>
                    </a:p>
                  </a:txBody>
                  <a:tcPr marL="36000" marR="36000" marT="36000" marB="36000" anchor="b"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7641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167034">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4</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5</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cap="none" normalizeH="0" baseline="0" dirty="0">
                          <a:ln>
                            <a:noFill/>
                          </a:ln>
                          <a:solidFill>
                            <a:schemeClr val="tx1">
                              <a:lumMod val="65000"/>
                              <a:lumOff val="35000"/>
                            </a:schemeClr>
                          </a:solidFill>
                          <a:effectLst/>
                          <a:latin typeface="+mn-lt"/>
                        </a:rPr>
                        <a:t>6</a:t>
                      </a:r>
                      <a:endParaRPr kumimoji="0" lang="en-US" sz="700" b="0" i="0" u="none" strike="noStrike" cap="none" normalizeH="0" baseline="0" dirty="0">
                        <a:ln>
                          <a:noFill/>
                        </a:ln>
                        <a:solidFill>
                          <a:schemeClr val="tx1">
                            <a:lumMod val="65000"/>
                            <a:lumOff val="35000"/>
                          </a:schemeClr>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7</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167034">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5</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1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167034">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8</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1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0</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1</a:t>
                      </a: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2</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3</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4</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167034">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5</a:t>
                      </a: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6</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7</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700" b="0" i="0" u="none" strike="noStrike" kern="1200" cap="none" normalizeH="0" baseline="0" dirty="0">
                          <a:ln>
                            <a:noFill/>
                          </a:ln>
                          <a:solidFill>
                            <a:schemeClr val="tx1">
                              <a:lumMod val="65000"/>
                              <a:lumOff val="35000"/>
                            </a:schemeClr>
                          </a:solidFill>
                          <a:effectLst/>
                          <a:latin typeface="+mn-lt"/>
                          <a:ea typeface="+mn-ea"/>
                          <a:cs typeface="+mn-cs"/>
                        </a:rPr>
                        <a:t>28</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29</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0</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s-CO" sz="700" b="0" i="0" u="none" strike="noStrike" kern="1200" cap="none" normalizeH="0" baseline="0" dirty="0">
                          <a:ln>
                            <a:noFill/>
                          </a:ln>
                          <a:solidFill>
                            <a:schemeClr val="tx1">
                              <a:lumMod val="65000"/>
                              <a:lumOff val="35000"/>
                            </a:schemeClr>
                          </a:solidFill>
                          <a:effectLst/>
                          <a:latin typeface="+mn-lt"/>
                          <a:ea typeface="+mn-ea"/>
                          <a:cs typeface="+mn-cs"/>
                        </a:rPr>
                        <a:t>31</a:t>
                      </a: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r h="176415">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s-CO"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700" b="0" i="0" u="none" strike="noStrike" kern="1200" cap="none" normalizeH="0" baseline="0" dirty="0">
                        <a:ln>
                          <a:noFill/>
                        </a:ln>
                        <a:solidFill>
                          <a:schemeClr val="tx1">
                            <a:lumMod val="65000"/>
                            <a:lumOff val="35000"/>
                          </a:schemeClr>
                        </a:solidFill>
                        <a:effectLst/>
                        <a:latin typeface="+mn-lt"/>
                        <a:ea typeface="+mn-ea"/>
                        <a:cs typeface="+mn-cs"/>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pSp>
        <p:nvGrpSpPr>
          <p:cNvPr id="19" name="Group 18"/>
          <p:cNvGrpSpPr/>
          <p:nvPr/>
        </p:nvGrpSpPr>
        <p:grpSpPr>
          <a:xfrm>
            <a:off x="5474099" y="2744234"/>
            <a:ext cx="3403693" cy="1252428"/>
            <a:chOff x="5693406" y="2462334"/>
            <a:chExt cx="2221564" cy="884511"/>
          </a:xfrm>
        </p:grpSpPr>
        <p:sp>
          <p:nvSpPr>
            <p:cNvPr id="58" name="AutoShape 11"/>
            <p:cNvSpPr>
              <a:spLocks noChangeArrowheads="1"/>
            </p:cNvSpPr>
            <p:nvPr/>
          </p:nvSpPr>
          <p:spPr bwMode="auto">
            <a:xfrm>
              <a:off x="5693406" y="2462334"/>
              <a:ext cx="2221564" cy="884511"/>
            </a:xfrm>
            <a:prstGeom prst="wedgeRoundRectCallout">
              <a:avLst>
                <a:gd name="adj1" fmla="val -37393"/>
                <a:gd name="adj2" fmla="val -77140"/>
                <a:gd name="adj3" fmla="val 16667"/>
              </a:avLst>
            </a:prstGeom>
            <a:solidFill>
              <a:schemeClr val="bg1"/>
            </a:solidFill>
            <a:ln w="28575">
              <a:solidFill>
                <a:schemeClr val="bg1">
                  <a:lumMod val="50000"/>
                </a:schemeClr>
              </a:solidFill>
              <a:miter lim="800000"/>
              <a:headEnd/>
              <a:tailEnd/>
            </a:ln>
          </p:spPr>
          <p:txBody>
            <a:bodyPr wrap="square" lIns="88900" tIns="88900" rIns="88900" bIns="88900" anchor="t"/>
            <a:lstStyle/>
            <a:p>
              <a:pPr lvl="0" fontAlgn="base">
                <a:spcBef>
                  <a:spcPct val="0"/>
                </a:spcBef>
                <a:spcAft>
                  <a:spcPct val="0"/>
                </a:spcAft>
              </a:pPr>
              <a:endParaRPr lang="en-US" sz="1050" dirty="0"/>
            </a:p>
          </p:txBody>
        </p:sp>
        <p:sp>
          <p:nvSpPr>
            <p:cNvPr id="67" name="Freeform 66">
              <a:hlinkClick r:id="rId2" action="ppaction://hlinksldjump"/>
            </p:cNvPr>
            <p:cNvSpPr>
              <a:spLocks noChangeAspect="1" noEditPoints="1"/>
            </p:cNvSpPr>
            <p:nvPr/>
          </p:nvSpPr>
          <p:spPr bwMode="auto">
            <a:xfrm>
              <a:off x="7672556" y="2638978"/>
              <a:ext cx="202172" cy="202173"/>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a:p>
              <a:endParaRPr lang="en-GB" dirty="0"/>
            </a:p>
          </p:txBody>
        </p:sp>
        <p:sp>
          <p:nvSpPr>
            <p:cNvPr id="68" name="Freeform 635">
              <a:hlinkClick r:id="rId2" action="ppaction://hlinksldjump"/>
            </p:cNvPr>
            <p:cNvSpPr>
              <a:spLocks noChangeAspect="1" noEditPoints="1"/>
            </p:cNvSpPr>
            <p:nvPr/>
          </p:nvSpPr>
          <p:spPr bwMode="auto">
            <a:xfrm>
              <a:off x="7663047" y="2859881"/>
              <a:ext cx="202172" cy="202172"/>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69" name="Freeform 346">
              <a:hlinkClick r:id="rId2" action="ppaction://hlinksldjump"/>
            </p:cNvPr>
            <p:cNvSpPr>
              <a:spLocks noChangeAspect="1" noEditPoints="1"/>
            </p:cNvSpPr>
            <p:nvPr/>
          </p:nvSpPr>
          <p:spPr bwMode="auto">
            <a:xfrm>
              <a:off x="7663047" y="3079722"/>
              <a:ext cx="202172" cy="202172"/>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nvGrpSpPr>
          <p:cNvPr id="16" name="Group 15"/>
          <p:cNvGrpSpPr/>
          <p:nvPr/>
        </p:nvGrpSpPr>
        <p:grpSpPr>
          <a:xfrm>
            <a:off x="792232" y="5761315"/>
            <a:ext cx="592237" cy="857514"/>
            <a:chOff x="863377" y="5751104"/>
            <a:chExt cx="592237" cy="857514"/>
          </a:xfrm>
        </p:grpSpPr>
        <p:sp>
          <p:nvSpPr>
            <p:cNvPr id="70" name="TextBox 69"/>
            <p:cNvSpPr txBox="1"/>
            <p:nvPr/>
          </p:nvSpPr>
          <p:spPr>
            <a:xfrm>
              <a:off x="863377" y="6177731"/>
              <a:ext cx="592237" cy="430887"/>
            </a:xfrm>
            <a:prstGeom prst="rect">
              <a:avLst/>
            </a:prstGeom>
            <a:noFill/>
          </p:spPr>
          <p:txBody>
            <a:bodyPr wrap="square" lIns="0" tIns="0" rIns="0" bIns="0" rtlCol="0">
              <a:spAutoFit/>
            </a:bodyPr>
            <a:lstStyle/>
            <a:p>
              <a:pPr algn="ctr">
                <a:spcBef>
                  <a:spcPts val="600"/>
                </a:spcBef>
                <a:buSzPct val="100000"/>
              </a:pPr>
              <a:r>
                <a:rPr lang="es-CO" sz="700" dirty="0">
                  <a:solidFill>
                    <a:srgbClr val="313131"/>
                  </a:solidFill>
                </a:rPr>
                <a:t>Inscripción y actualización del Registro TIC</a:t>
              </a:r>
            </a:p>
          </p:txBody>
        </p:sp>
        <p:grpSp>
          <p:nvGrpSpPr>
            <p:cNvPr id="3" name="Group 2"/>
            <p:cNvGrpSpPr/>
            <p:nvPr/>
          </p:nvGrpSpPr>
          <p:grpSpPr>
            <a:xfrm>
              <a:off x="945033" y="5751104"/>
              <a:ext cx="483158" cy="432614"/>
              <a:chOff x="981506" y="5748732"/>
              <a:chExt cx="483158" cy="432614"/>
            </a:xfrm>
          </p:grpSpPr>
          <p:pic>
            <p:nvPicPr>
              <p:cNvPr id="120" name="Picture 119">
                <a:hlinkClick r:id="rId4" action="ppaction://hlinksldjump"/>
              </p:cNvPr>
              <p:cNvPicPr>
                <a:picLocks noChangeAspect="1"/>
              </p:cNvPicPr>
              <p:nvPr/>
            </p:nvPicPr>
            <p:blipFill rotWithShape="1">
              <a:blip r:embed="rId5" cstate="screen">
                <a:extLst>
                  <a:ext uri="{28A0092B-C50C-407E-A947-70E740481C1C}">
                    <a14:useLocalDpi xmlns:a14="http://schemas.microsoft.com/office/drawing/2010/main"/>
                  </a:ext>
                </a:extLst>
              </a:blip>
              <a:srcRect l="36599" b="26082"/>
              <a:stretch/>
            </p:blipFill>
            <p:spPr>
              <a:xfrm>
                <a:off x="981506" y="5748732"/>
                <a:ext cx="483158" cy="432614"/>
              </a:xfrm>
              <a:prstGeom prst="rect">
                <a:avLst/>
              </a:prstGeom>
            </p:spPr>
          </p:pic>
          <p:sp>
            <p:nvSpPr>
              <p:cNvPr id="93" name="Freeform 320"/>
              <p:cNvSpPr>
                <a:spLocks noEditPoints="1"/>
              </p:cNvSpPr>
              <p:nvPr/>
            </p:nvSpPr>
            <p:spPr bwMode="auto">
              <a:xfrm>
                <a:off x="1137273" y="5832430"/>
                <a:ext cx="148694" cy="224669"/>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7" name="Group 16"/>
          <p:cNvGrpSpPr/>
          <p:nvPr/>
        </p:nvGrpSpPr>
        <p:grpSpPr>
          <a:xfrm>
            <a:off x="1487635" y="5768072"/>
            <a:ext cx="841283" cy="958479"/>
            <a:chOff x="1511009" y="5757861"/>
            <a:chExt cx="841283" cy="958479"/>
          </a:xfrm>
        </p:grpSpPr>
        <p:sp>
          <p:nvSpPr>
            <p:cNvPr id="71" name="TextBox 70"/>
            <p:cNvSpPr txBox="1"/>
            <p:nvPr/>
          </p:nvSpPr>
          <p:spPr>
            <a:xfrm>
              <a:off x="1511009" y="6177731"/>
              <a:ext cx="841283" cy="538609"/>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Constituir, aportar y mantener vigente la Garantía de Cumplimiento</a:t>
              </a:r>
            </a:p>
          </p:txBody>
        </p:sp>
        <p:grpSp>
          <p:nvGrpSpPr>
            <p:cNvPr id="4" name="Group 3"/>
            <p:cNvGrpSpPr/>
            <p:nvPr/>
          </p:nvGrpSpPr>
          <p:grpSpPr>
            <a:xfrm>
              <a:off x="1684000" y="5757861"/>
              <a:ext cx="495301" cy="419100"/>
              <a:chOff x="1666874" y="5755489"/>
              <a:chExt cx="495301" cy="419100"/>
            </a:xfrm>
          </p:grpSpPr>
          <p:pic>
            <p:nvPicPr>
              <p:cNvPr id="27" name="Picture 26">
                <a:hlinkClick r:id="rId4"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2665" t="18623" r="33901" b="17725"/>
              <a:stretch/>
            </p:blipFill>
            <p:spPr>
              <a:xfrm>
                <a:off x="1666874" y="5755489"/>
                <a:ext cx="495301" cy="419100"/>
              </a:xfrm>
              <a:prstGeom prst="rect">
                <a:avLst/>
              </a:prstGeom>
            </p:spPr>
          </p:pic>
          <p:sp>
            <p:nvSpPr>
              <p:cNvPr id="94" name="Freeform 296"/>
              <p:cNvSpPr>
                <a:spLocks noEditPoints="1"/>
              </p:cNvSpPr>
              <p:nvPr/>
            </p:nvSpPr>
            <p:spPr bwMode="auto">
              <a:xfrm>
                <a:off x="1811896" y="5869996"/>
                <a:ext cx="229448" cy="168839"/>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8" name="Group 17"/>
          <p:cNvGrpSpPr/>
          <p:nvPr/>
        </p:nvGrpSpPr>
        <p:grpSpPr>
          <a:xfrm>
            <a:off x="2365699" y="5753784"/>
            <a:ext cx="941626" cy="1080751"/>
            <a:chOff x="2335752" y="5743573"/>
            <a:chExt cx="941626" cy="1080751"/>
          </a:xfrm>
        </p:grpSpPr>
        <p:sp>
          <p:nvSpPr>
            <p:cNvPr id="72" name="TextBox 71"/>
            <p:cNvSpPr txBox="1"/>
            <p:nvPr/>
          </p:nvSpPr>
          <p:spPr>
            <a:xfrm>
              <a:off x="2335752" y="6177993"/>
              <a:ext cx="941626" cy="646331"/>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Elaborar el Manual de Estilo, ponerlo a disposición de la comunidad y presentar copia al MINTIC</a:t>
              </a:r>
            </a:p>
          </p:txBody>
        </p:sp>
        <p:grpSp>
          <p:nvGrpSpPr>
            <p:cNvPr id="5" name="Group 4"/>
            <p:cNvGrpSpPr/>
            <p:nvPr/>
          </p:nvGrpSpPr>
          <p:grpSpPr>
            <a:xfrm>
              <a:off x="2584266" y="5743573"/>
              <a:ext cx="457200" cy="447676"/>
              <a:chOff x="2562225" y="5741201"/>
              <a:chExt cx="457200" cy="447676"/>
            </a:xfrm>
          </p:grpSpPr>
          <p:pic>
            <p:nvPicPr>
              <p:cNvPr id="28" name="Picture 27">
                <a:hlinkClick r:id="rId4" action="ppaction://hlinksldjump"/>
              </p:cNvPr>
              <p:cNvPicPr>
                <a:picLocks noChangeAspect="1"/>
              </p:cNvPicPr>
              <p:nvPr/>
            </p:nvPicPr>
            <p:blipFill rotWithShape="1">
              <a:blip r:embed="rId7" cstate="screen">
                <a:extLst>
                  <a:ext uri="{28A0092B-C50C-407E-A947-70E740481C1C}">
                    <a14:useLocalDpi xmlns:a14="http://schemas.microsoft.com/office/drawing/2010/main"/>
                  </a:ext>
                </a:extLst>
              </a:blip>
              <a:srcRect l="35693" t="14841" r="33317" b="16531"/>
              <a:stretch/>
            </p:blipFill>
            <p:spPr>
              <a:xfrm>
                <a:off x="2562225" y="5741201"/>
                <a:ext cx="457200" cy="447676"/>
              </a:xfrm>
              <a:prstGeom prst="rect">
                <a:avLst/>
              </a:prstGeom>
            </p:spPr>
          </p:pic>
          <p:sp>
            <p:nvSpPr>
              <p:cNvPr id="99" name="Freeform 120"/>
              <p:cNvSpPr>
                <a:spLocks noEditPoints="1"/>
              </p:cNvSpPr>
              <p:nvPr/>
            </p:nvSpPr>
            <p:spPr bwMode="auto">
              <a:xfrm>
                <a:off x="2670758" y="5873226"/>
                <a:ext cx="198634" cy="19863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0" name="Group 19"/>
          <p:cNvGrpSpPr/>
          <p:nvPr/>
        </p:nvGrpSpPr>
        <p:grpSpPr>
          <a:xfrm>
            <a:off x="3356709" y="5753784"/>
            <a:ext cx="763919" cy="1265156"/>
            <a:chOff x="3371430" y="5743573"/>
            <a:chExt cx="763919" cy="1265156"/>
          </a:xfrm>
        </p:grpSpPr>
        <p:sp>
          <p:nvSpPr>
            <p:cNvPr id="74" name="TextBox 73"/>
            <p:cNvSpPr txBox="1"/>
            <p:nvPr/>
          </p:nvSpPr>
          <p:spPr>
            <a:xfrm>
              <a:off x="3371430" y="6177732"/>
              <a:ext cx="763919" cy="830997"/>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Adaptar la publicidad y pauta comercial </a:t>
              </a:r>
              <a:r>
                <a:rPr lang="es-ES" altLang="ja-JP" sz="700" dirty="0">
                  <a:solidFill>
                    <a:srgbClr val="313131"/>
                  </a:solidFill>
                </a:rPr>
                <a:t>a la orientación de la programación</a:t>
              </a:r>
            </a:p>
            <a:p>
              <a:pPr algn="ctr">
                <a:spcBef>
                  <a:spcPts val="600"/>
                </a:spcBef>
                <a:buSzPct val="100000"/>
              </a:pPr>
              <a:endParaRPr lang="es-ES" sz="700" dirty="0">
                <a:solidFill>
                  <a:srgbClr val="313131"/>
                </a:solidFill>
              </a:endParaRPr>
            </a:p>
          </p:txBody>
        </p:sp>
        <p:grpSp>
          <p:nvGrpSpPr>
            <p:cNvPr id="8" name="Group 7"/>
            <p:cNvGrpSpPr/>
            <p:nvPr/>
          </p:nvGrpSpPr>
          <p:grpSpPr>
            <a:xfrm>
              <a:off x="3524789" y="5743573"/>
              <a:ext cx="457200" cy="447676"/>
              <a:chOff x="3419475" y="5741201"/>
              <a:chExt cx="457200" cy="447676"/>
            </a:xfrm>
          </p:grpSpPr>
          <p:pic>
            <p:nvPicPr>
              <p:cNvPr id="121" name="Picture 120">
                <a:hlinkClick r:id="rId4" action="ppaction://hlinksldjump"/>
              </p:cNvPr>
              <p:cNvPicPr>
                <a:picLocks noChangeAspect="1"/>
              </p:cNvPicPr>
              <p:nvPr/>
            </p:nvPicPr>
            <p:blipFill rotWithShape="1">
              <a:blip r:embed="rId7" cstate="screen">
                <a:extLst>
                  <a:ext uri="{28A0092B-C50C-407E-A947-70E740481C1C}">
                    <a14:useLocalDpi xmlns:a14="http://schemas.microsoft.com/office/drawing/2010/main"/>
                  </a:ext>
                </a:extLst>
              </a:blip>
              <a:srcRect l="35693" t="14841" r="33317" b="16531"/>
              <a:stretch/>
            </p:blipFill>
            <p:spPr>
              <a:xfrm>
                <a:off x="3419475" y="5741201"/>
                <a:ext cx="457200" cy="447676"/>
              </a:xfrm>
              <a:prstGeom prst="rect">
                <a:avLst/>
              </a:prstGeom>
            </p:spPr>
          </p:pic>
          <p:sp>
            <p:nvSpPr>
              <p:cNvPr id="100" name="Freeform 770"/>
              <p:cNvSpPr>
                <a:spLocks noEditPoints="1"/>
              </p:cNvSpPr>
              <p:nvPr/>
            </p:nvSpPr>
            <p:spPr bwMode="auto">
              <a:xfrm>
                <a:off x="3540135" y="5868494"/>
                <a:ext cx="161718" cy="214900"/>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2" name="Group 21"/>
          <p:cNvGrpSpPr/>
          <p:nvPr/>
        </p:nvGrpSpPr>
        <p:grpSpPr>
          <a:xfrm>
            <a:off x="4223794" y="5753784"/>
            <a:ext cx="684000" cy="980982"/>
            <a:chOff x="4200401" y="5743573"/>
            <a:chExt cx="684000" cy="980982"/>
          </a:xfrm>
        </p:grpSpPr>
        <p:sp>
          <p:nvSpPr>
            <p:cNvPr id="76" name="TextBox 75"/>
            <p:cNvSpPr txBox="1"/>
            <p:nvPr/>
          </p:nvSpPr>
          <p:spPr>
            <a:xfrm>
              <a:off x="4200401" y="6185946"/>
              <a:ext cx="684000" cy="538609"/>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Reinvertir sus recursos en el funcionamiento de la emisora</a:t>
              </a:r>
            </a:p>
          </p:txBody>
        </p:sp>
        <p:grpSp>
          <p:nvGrpSpPr>
            <p:cNvPr id="9" name="Group 8"/>
            <p:cNvGrpSpPr/>
            <p:nvPr/>
          </p:nvGrpSpPr>
          <p:grpSpPr>
            <a:xfrm>
              <a:off x="4307007" y="5743573"/>
              <a:ext cx="457200" cy="447676"/>
              <a:chOff x="4313062" y="5741201"/>
              <a:chExt cx="457200" cy="447676"/>
            </a:xfrm>
          </p:grpSpPr>
          <p:pic>
            <p:nvPicPr>
              <p:cNvPr id="122" name="Picture 121">
                <a:hlinkClick r:id="rId4" action="ppaction://hlinksldjump"/>
              </p:cNvPr>
              <p:cNvPicPr>
                <a:picLocks noChangeAspect="1"/>
              </p:cNvPicPr>
              <p:nvPr/>
            </p:nvPicPr>
            <p:blipFill rotWithShape="1">
              <a:blip r:embed="rId7" cstate="screen">
                <a:extLst>
                  <a:ext uri="{28A0092B-C50C-407E-A947-70E740481C1C}">
                    <a14:useLocalDpi xmlns:a14="http://schemas.microsoft.com/office/drawing/2010/main"/>
                  </a:ext>
                </a:extLst>
              </a:blip>
              <a:srcRect l="35693" t="14841" r="33317" b="16531"/>
              <a:stretch/>
            </p:blipFill>
            <p:spPr>
              <a:xfrm>
                <a:off x="4313062" y="5741201"/>
                <a:ext cx="457200" cy="447676"/>
              </a:xfrm>
              <a:prstGeom prst="rect">
                <a:avLst/>
              </a:prstGeom>
            </p:spPr>
          </p:pic>
          <p:sp>
            <p:nvSpPr>
              <p:cNvPr id="102" name="Freeform 70"/>
              <p:cNvSpPr>
                <a:spLocks noEditPoints="1"/>
              </p:cNvSpPr>
              <p:nvPr/>
            </p:nvSpPr>
            <p:spPr bwMode="auto">
              <a:xfrm>
                <a:off x="4407079" y="5848989"/>
                <a:ext cx="229229" cy="22922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3" name="Group 22"/>
          <p:cNvGrpSpPr/>
          <p:nvPr/>
        </p:nvGrpSpPr>
        <p:grpSpPr>
          <a:xfrm>
            <a:off x="4997372" y="5761315"/>
            <a:ext cx="855783" cy="642071"/>
            <a:chOff x="4922684" y="5751104"/>
            <a:chExt cx="855783" cy="642071"/>
          </a:xfrm>
        </p:grpSpPr>
        <p:sp>
          <p:nvSpPr>
            <p:cNvPr id="73" name="TextBox 72"/>
            <p:cNvSpPr txBox="1"/>
            <p:nvPr/>
          </p:nvSpPr>
          <p:spPr>
            <a:xfrm>
              <a:off x="4922684" y="6177731"/>
              <a:ext cx="855783" cy="215444"/>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Pago oportuno de contraprestaciones</a:t>
              </a:r>
            </a:p>
          </p:txBody>
        </p:sp>
        <p:grpSp>
          <p:nvGrpSpPr>
            <p:cNvPr id="10" name="Group 9"/>
            <p:cNvGrpSpPr/>
            <p:nvPr/>
          </p:nvGrpSpPr>
          <p:grpSpPr>
            <a:xfrm>
              <a:off x="5108996" y="5751104"/>
              <a:ext cx="483158" cy="432614"/>
              <a:chOff x="5228062" y="5748732"/>
              <a:chExt cx="483158" cy="432614"/>
            </a:xfrm>
          </p:grpSpPr>
          <p:pic>
            <p:nvPicPr>
              <p:cNvPr id="123" name="Picture 122">
                <a:hlinkClick r:id="rId4" action="ppaction://hlinksldjump"/>
              </p:cNvPr>
              <p:cNvPicPr>
                <a:picLocks noChangeAspect="1"/>
              </p:cNvPicPr>
              <p:nvPr/>
            </p:nvPicPr>
            <p:blipFill rotWithShape="1">
              <a:blip r:embed="rId5" cstate="screen">
                <a:extLst>
                  <a:ext uri="{28A0092B-C50C-407E-A947-70E740481C1C}">
                    <a14:useLocalDpi xmlns:a14="http://schemas.microsoft.com/office/drawing/2010/main"/>
                  </a:ext>
                </a:extLst>
              </a:blip>
              <a:srcRect l="36599" b="26082"/>
              <a:stretch/>
            </p:blipFill>
            <p:spPr>
              <a:xfrm>
                <a:off x="5228062" y="5748732"/>
                <a:ext cx="483158" cy="432614"/>
              </a:xfrm>
              <a:prstGeom prst="rect">
                <a:avLst/>
              </a:prstGeom>
            </p:spPr>
          </p:pic>
          <p:sp>
            <p:nvSpPr>
              <p:cNvPr id="103" name="Freeform 640"/>
              <p:cNvSpPr>
                <a:spLocks noEditPoints="1"/>
              </p:cNvSpPr>
              <p:nvPr/>
            </p:nvSpPr>
            <p:spPr bwMode="auto">
              <a:xfrm>
                <a:off x="5351998" y="5863748"/>
                <a:ext cx="231020" cy="169486"/>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4" name="Group 23"/>
          <p:cNvGrpSpPr/>
          <p:nvPr/>
        </p:nvGrpSpPr>
        <p:grpSpPr>
          <a:xfrm>
            <a:off x="5956321" y="5761315"/>
            <a:ext cx="763919" cy="1072958"/>
            <a:chOff x="5982143" y="5751104"/>
            <a:chExt cx="763919" cy="1072958"/>
          </a:xfrm>
        </p:grpSpPr>
        <p:sp>
          <p:nvSpPr>
            <p:cNvPr id="77" name="TextBox 76"/>
            <p:cNvSpPr txBox="1"/>
            <p:nvPr/>
          </p:nvSpPr>
          <p:spPr>
            <a:xfrm>
              <a:off x="5982143" y="6177731"/>
              <a:ext cx="763919" cy="646331"/>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Conservar las grabaciones de programas informativos, periodísticos y discursos</a:t>
              </a:r>
            </a:p>
          </p:txBody>
        </p:sp>
        <p:grpSp>
          <p:nvGrpSpPr>
            <p:cNvPr id="11" name="Group 10"/>
            <p:cNvGrpSpPr/>
            <p:nvPr/>
          </p:nvGrpSpPr>
          <p:grpSpPr>
            <a:xfrm>
              <a:off x="6122523" y="5751104"/>
              <a:ext cx="483158" cy="432614"/>
              <a:chOff x="6168205" y="5748732"/>
              <a:chExt cx="483158" cy="432614"/>
            </a:xfrm>
          </p:grpSpPr>
          <p:pic>
            <p:nvPicPr>
              <p:cNvPr id="124" name="Picture 123">
                <a:hlinkClick r:id="rId4" action="ppaction://hlinksldjump"/>
              </p:cNvPr>
              <p:cNvPicPr>
                <a:picLocks noChangeAspect="1"/>
              </p:cNvPicPr>
              <p:nvPr/>
            </p:nvPicPr>
            <p:blipFill rotWithShape="1">
              <a:blip r:embed="rId5" cstate="screen">
                <a:extLst>
                  <a:ext uri="{28A0092B-C50C-407E-A947-70E740481C1C}">
                    <a14:useLocalDpi xmlns:a14="http://schemas.microsoft.com/office/drawing/2010/main"/>
                  </a:ext>
                </a:extLst>
              </a:blip>
              <a:srcRect l="36599" b="26082"/>
              <a:stretch/>
            </p:blipFill>
            <p:spPr>
              <a:xfrm>
                <a:off x="6168205" y="5748732"/>
                <a:ext cx="483158" cy="432614"/>
              </a:xfrm>
              <a:prstGeom prst="rect">
                <a:avLst/>
              </a:prstGeom>
            </p:spPr>
          </p:pic>
          <p:sp>
            <p:nvSpPr>
              <p:cNvPr id="105" name="Freeform 631"/>
              <p:cNvSpPr>
                <a:spLocks noChangeAspect="1" noEditPoints="1"/>
              </p:cNvSpPr>
              <p:nvPr/>
            </p:nvSpPr>
            <p:spPr bwMode="auto">
              <a:xfrm>
                <a:off x="6207018" y="5777999"/>
                <a:ext cx="396000" cy="396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5" name="Group 24"/>
          <p:cNvGrpSpPr/>
          <p:nvPr/>
        </p:nvGrpSpPr>
        <p:grpSpPr>
          <a:xfrm>
            <a:off x="6823405" y="5760028"/>
            <a:ext cx="792000" cy="1058269"/>
            <a:chOff x="6747944" y="5749822"/>
            <a:chExt cx="792000" cy="1055133"/>
          </a:xfrm>
        </p:grpSpPr>
        <p:sp>
          <p:nvSpPr>
            <p:cNvPr id="78" name="TextBox 77"/>
            <p:cNvSpPr txBox="1"/>
            <p:nvPr/>
          </p:nvSpPr>
          <p:spPr>
            <a:xfrm>
              <a:off x="6747944" y="6160539"/>
              <a:ext cx="792000" cy="644416"/>
            </a:xfrm>
            <a:prstGeom prst="rect">
              <a:avLst/>
            </a:prstGeom>
            <a:noFill/>
          </p:spPr>
          <p:txBody>
            <a:bodyPr wrap="square" lIns="0" tIns="0" rIns="0" bIns="0" rtlCol="0">
              <a:spAutoFit/>
            </a:bodyPr>
            <a:lstStyle/>
            <a:p>
              <a:pPr algn="ctr">
                <a:spcBef>
                  <a:spcPts val="600"/>
                </a:spcBef>
                <a:buSzPct val="100000"/>
              </a:pPr>
              <a:r>
                <a:rPr lang="es-ES" sz="700" dirty="0">
                  <a:solidFill>
                    <a:srgbClr val="313131"/>
                  </a:solidFill>
                </a:rPr>
                <a:t>Diseñar y orientar la programación de acuerdo con el servicio autorizado</a:t>
              </a:r>
            </a:p>
          </p:txBody>
        </p:sp>
        <p:grpSp>
          <p:nvGrpSpPr>
            <p:cNvPr id="12" name="Group 11"/>
            <p:cNvGrpSpPr/>
            <p:nvPr/>
          </p:nvGrpSpPr>
          <p:grpSpPr>
            <a:xfrm>
              <a:off x="6866497" y="5749822"/>
              <a:ext cx="483158" cy="432614"/>
              <a:chOff x="7002146" y="5747450"/>
              <a:chExt cx="483158" cy="432614"/>
            </a:xfrm>
          </p:grpSpPr>
          <p:pic>
            <p:nvPicPr>
              <p:cNvPr id="125" name="Picture 124">
                <a:hlinkClick r:id="rId4" action="ppaction://hlinksldjump"/>
              </p:cNvPr>
              <p:cNvPicPr>
                <a:picLocks noChangeAspect="1"/>
              </p:cNvPicPr>
              <p:nvPr/>
            </p:nvPicPr>
            <p:blipFill rotWithShape="1">
              <a:blip r:embed="rId5" cstate="screen">
                <a:extLst>
                  <a:ext uri="{28A0092B-C50C-407E-A947-70E740481C1C}">
                    <a14:useLocalDpi xmlns:a14="http://schemas.microsoft.com/office/drawing/2010/main"/>
                  </a:ext>
                </a:extLst>
              </a:blip>
              <a:srcRect l="36599" b="26082"/>
              <a:stretch/>
            </p:blipFill>
            <p:spPr>
              <a:xfrm>
                <a:off x="7002146" y="5747450"/>
                <a:ext cx="483158" cy="432614"/>
              </a:xfrm>
              <a:prstGeom prst="rect">
                <a:avLst/>
              </a:prstGeom>
            </p:spPr>
          </p:pic>
          <p:sp>
            <p:nvSpPr>
              <p:cNvPr id="118" name="Freeform 970"/>
              <p:cNvSpPr>
                <a:spLocks noEditPoints="1"/>
              </p:cNvSpPr>
              <p:nvPr/>
            </p:nvSpPr>
            <p:spPr bwMode="auto">
              <a:xfrm>
                <a:off x="7125337" y="5853948"/>
                <a:ext cx="177043" cy="199713"/>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30" name="Oval 29"/>
          <p:cNvSpPr/>
          <p:nvPr/>
        </p:nvSpPr>
        <p:spPr bwMode="gray">
          <a:xfrm>
            <a:off x="7888231" y="336510"/>
            <a:ext cx="108000" cy="108000"/>
          </a:xfrm>
          <a:prstGeom prst="ellipse">
            <a:avLst/>
          </a:prstGeom>
          <a:solidFill>
            <a:schemeClr val="accent4">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Oval 126"/>
          <p:cNvSpPr/>
          <p:nvPr/>
        </p:nvSpPr>
        <p:spPr bwMode="gray">
          <a:xfrm>
            <a:off x="7888231" y="504236"/>
            <a:ext cx="108000" cy="1080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Oval 127"/>
          <p:cNvSpPr/>
          <p:nvPr/>
        </p:nvSpPr>
        <p:spPr bwMode="gray">
          <a:xfrm>
            <a:off x="7888231" y="673760"/>
            <a:ext cx="108000" cy="108000"/>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9" name="TextBox 128"/>
          <p:cNvSpPr txBox="1"/>
          <p:nvPr/>
        </p:nvSpPr>
        <p:spPr>
          <a:xfrm>
            <a:off x="8022012" y="336828"/>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Comercial</a:t>
            </a:r>
            <a:endParaRPr lang="en-US" sz="700" dirty="0">
              <a:solidFill>
                <a:srgbClr val="313131"/>
              </a:solidFill>
            </a:endParaRPr>
          </a:p>
        </p:txBody>
      </p:sp>
      <p:sp>
        <p:nvSpPr>
          <p:cNvPr id="130" name="TextBox 129"/>
          <p:cNvSpPr txBox="1"/>
          <p:nvPr/>
        </p:nvSpPr>
        <p:spPr>
          <a:xfrm>
            <a:off x="8022012" y="496963"/>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Comunitaria</a:t>
            </a:r>
            <a:endParaRPr lang="en-US" sz="700" dirty="0">
              <a:solidFill>
                <a:srgbClr val="313131"/>
              </a:solidFill>
            </a:endParaRPr>
          </a:p>
        </p:txBody>
      </p:sp>
      <p:sp>
        <p:nvSpPr>
          <p:cNvPr id="131" name="TextBox 130"/>
          <p:cNvSpPr txBox="1"/>
          <p:nvPr/>
        </p:nvSpPr>
        <p:spPr>
          <a:xfrm>
            <a:off x="8022011" y="672764"/>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Interés Público</a:t>
            </a:r>
            <a:endParaRPr lang="en-US" sz="700" dirty="0">
              <a:solidFill>
                <a:srgbClr val="313131"/>
              </a:solidFill>
            </a:endParaRPr>
          </a:p>
        </p:txBody>
      </p:sp>
      <p:sp>
        <p:nvSpPr>
          <p:cNvPr id="132" name="Rectangle 131"/>
          <p:cNvSpPr/>
          <p:nvPr/>
        </p:nvSpPr>
        <p:spPr bwMode="gray">
          <a:xfrm>
            <a:off x="5670467" y="2166288"/>
            <a:ext cx="216000" cy="180000"/>
          </a:xfrm>
          <a:prstGeom prst="rect">
            <a:avLst/>
          </a:prstGeom>
          <a:noFill/>
          <a:ln w="3810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grpSp>
        <p:nvGrpSpPr>
          <p:cNvPr id="26" name="Group 25"/>
          <p:cNvGrpSpPr/>
          <p:nvPr/>
        </p:nvGrpSpPr>
        <p:grpSpPr>
          <a:xfrm>
            <a:off x="7546889" y="5761588"/>
            <a:ext cx="763919" cy="754220"/>
            <a:chOff x="7493170" y="5751104"/>
            <a:chExt cx="763919" cy="754220"/>
          </a:xfrm>
        </p:grpSpPr>
        <p:sp>
          <p:nvSpPr>
            <p:cNvPr id="75" name="TextBox 74"/>
            <p:cNvSpPr txBox="1"/>
            <p:nvPr/>
          </p:nvSpPr>
          <p:spPr>
            <a:xfrm>
              <a:off x="7493170" y="6182159"/>
              <a:ext cx="763919" cy="323165"/>
            </a:xfrm>
            <a:prstGeom prst="rect">
              <a:avLst/>
            </a:prstGeom>
            <a:noFill/>
          </p:spPr>
          <p:txBody>
            <a:bodyPr wrap="square" lIns="0" tIns="0" rIns="0" bIns="0" rtlCol="0">
              <a:spAutoFit/>
            </a:bodyPr>
            <a:lstStyle/>
            <a:p>
              <a:pPr algn="ctr">
                <a:spcBef>
                  <a:spcPts val="600"/>
                </a:spcBef>
                <a:buSzPct val="100000"/>
              </a:pPr>
              <a:r>
                <a:rPr lang="es-CO" sz="700" dirty="0">
                  <a:solidFill>
                    <a:srgbClr val="313131"/>
                  </a:solidFill>
                </a:rPr>
                <a:t>Mantener informado al MINTIC</a:t>
              </a:r>
            </a:p>
          </p:txBody>
        </p:sp>
        <p:grpSp>
          <p:nvGrpSpPr>
            <p:cNvPr id="14" name="Group 13"/>
            <p:cNvGrpSpPr/>
            <p:nvPr/>
          </p:nvGrpSpPr>
          <p:grpSpPr>
            <a:xfrm>
              <a:off x="7633550" y="5751104"/>
              <a:ext cx="483158" cy="432614"/>
              <a:chOff x="8557187" y="5730976"/>
              <a:chExt cx="483158" cy="432614"/>
            </a:xfrm>
          </p:grpSpPr>
          <p:pic>
            <p:nvPicPr>
              <p:cNvPr id="80" name="Picture 79">
                <a:hlinkClick r:id="rId4" action="ppaction://hlinksldjump"/>
              </p:cNvPr>
              <p:cNvPicPr>
                <a:picLocks noChangeAspect="1"/>
              </p:cNvPicPr>
              <p:nvPr/>
            </p:nvPicPr>
            <p:blipFill rotWithShape="1">
              <a:blip r:embed="rId5" cstate="screen">
                <a:extLst>
                  <a:ext uri="{28A0092B-C50C-407E-A947-70E740481C1C}">
                    <a14:useLocalDpi xmlns:a14="http://schemas.microsoft.com/office/drawing/2010/main"/>
                  </a:ext>
                </a:extLst>
              </a:blip>
              <a:srcRect l="36599" b="26082"/>
              <a:stretch/>
            </p:blipFill>
            <p:spPr>
              <a:xfrm>
                <a:off x="8557187" y="5730976"/>
                <a:ext cx="483158" cy="432614"/>
              </a:xfrm>
              <a:prstGeom prst="rect">
                <a:avLst/>
              </a:prstGeom>
            </p:spPr>
          </p:pic>
          <p:sp>
            <p:nvSpPr>
              <p:cNvPr id="101" name="Freeform 683"/>
              <p:cNvSpPr>
                <a:spLocks noEditPoints="1"/>
              </p:cNvSpPr>
              <p:nvPr/>
            </p:nvSpPr>
            <p:spPr bwMode="auto">
              <a:xfrm>
                <a:off x="8696440" y="5844804"/>
                <a:ext cx="168839" cy="224036"/>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 name="Rectangle 1"/>
          <p:cNvSpPr/>
          <p:nvPr/>
        </p:nvSpPr>
        <p:spPr bwMode="gray">
          <a:xfrm>
            <a:off x="5549572" y="2783305"/>
            <a:ext cx="2984828" cy="1157481"/>
          </a:xfrm>
          <a:prstGeom prst="rect">
            <a:avLst/>
          </a:prstGeom>
          <a:noFill/>
          <a:ln w="19050" algn="ctr">
            <a:noFill/>
            <a:miter lim="800000"/>
            <a:headEnd/>
            <a:tailEnd/>
          </a:ln>
        </p:spPr>
        <p:txBody>
          <a:bodyPr wrap="square" lIns="88900" tIns="88900" rIns="88900" bIns="88900" rtlCol="0" anchor="ctr"/>
          <a:lstStyle/>
          <a:p>
            <a:pPr lvl="0" fontAlgn="base">
              <a:spcBef>
                <a:spcPct val="0"/>
              </a:spcBef>
              <a:spcAft>
                <a:spcPct val="0"/>
              </a:spcAft>
            </a:pPr>
            <a:r>
              <a:rPr lang="es-CO" sz="800" b="1" dirty="0">
                <a:solidFill>
                  <a:prstClr val="black"/>
                </a:solidFill>
              </a:rPr>
              <a:t>Fecha límite para cumplir con las siguientes obligaciones</a:t>
            </a:r>
            <a:r>
              <a:rPr lang="en-US" sz="800" b="1" dirty="0">
                <a:solidFill>
                  <a:prstClr val="black"/>
                </a:solidFill>
              </a:rPr>
              <a:t>:</a:t>
            </a:r>
          </a:p>
          <a:p>
            <a:pPr lvl="0" fontAlgn="base">
              <a:spcBef>
                <a:spcPct val="0"/>
              </a:spcBef>
              <a:spcAft>
                <a:spcPct val="0"/>
              </a:spcAft>
            </a:pPr>
            <a:endParaRPr lang="es-CO" sz="600" dirty="0">
              <a:solidFill>
                <a:prstClr val="black"/>
              </a:solidFill>
            </a:endParaRPr>
          </a:p>
          <a:p>
            <a:pPr marL="228600" lvl="0" indent="-228600" fontAlgn="base">
              <a:spcBef>
                <a:spcPct val="0"/>
              </a:spcBef>
              <a:spcAft>
                <a:spcPct val="0"/>
              </a:spcAft>
              <a:buAutoNum type="arabicPeriod"/>
            </a:pPr>
            <a:r>
              <a:rPr lang="es-CO" sz="800" dirty="0">
                <a:solidFill>
                  <a:prstClr val="black"/>
                </a:solidFill>
              </a:rPr>
              <a:t>Paz y salvo por concepto de pago de derechos de autor.</a:t>
            </a:r>
          </a:p>
          <a:p>
            <a:pPr marL="228600" lvl="0" indent="-228600" fontAlgn="base">
              <a:spcBef>
                <a:spcPct val="0"/>
              </a:spcBef>
              <a:spcAft>
                <a:spcPct val="0"/>
              </a:spcAft>
              <a:buAutoNum type="arabicPeriod"/>
            </a:pPr>
            <a:r>
              <a:rPr lang="es-CO" sz="800" dirty="0">
                <a:solidFill>
                  <a:prstClr val="black"/>
                </a:solidFill>
              </a:rPr>
              <a:t>Acta de constitución de la Junta de Programación (Solo Concesionarios Comunitarios).</a:t>
            </a:r>
          </a:p>
          <a:p>
            <a:pPr marL="228600" lvl="0" indent="-228600" fontAlgn="base">
              <a:spcBef>
                <a:spcPct val="0"/>
              </a:spcBef>
              <a:spcAft>
                <a:spcPct val="0"/>
              </a:spcAft>
              <a:buAutoNum type="arabicPeriod"/>
            </a:pPr>
            <a:r>
              <a:rPr lang="es-CO" sz="800" dirty="0">
                <a:solidFill>
                  <a:prstClr val="black"/>
                </a:solidFill>
              </a:rPr>
              <a:t>Pagar al MINTIC la contraprestación por uso del espectro.</a:t>
            </a:r>
            <a:endParaRPr lang="en-US" sz="1050" dirty="0">
              <a:solidFill>
                <a:prstClr val="black"/>
              </a:solidFill>
            </a:endParaRPr>
          </a:p>
        </p:txBody>
      </p:sp>
    </p:spTree>
    <p:extLst>
      <p:ext uri="{BB962C8B-B14F-4D97-AF65-F5344CB8AC3E}">
        <p14:creationId xmlns:p14="http://schemas.microsoft.com/office/powerpoint/2010/main" val="2359354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0"/>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11"/>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112"/>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13"/>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14"/>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15"/>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17"/>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46"/>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48"/>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51"/>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52"/>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54"/>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5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56"/>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57"/>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45"/>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109"/>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10" grpId="0"/>
      <p:bldP spid="111" grpId="0"/>
      <p:bldP spid="112" grpId="0"/>
      <p:bldP spid="113" grpId="0"/>
      <p:bldP spid="114" grpId="0"/>
      <p:bldP spid="115" grpId="0"/>
      <p:bldP spid="116" grpId="0"/>
      <p:bldP spid="1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346"/>
          <p:cNvSpPr>
            <a:spLocks noChangeAspect="1" noEditPoints="1"/>
          </p:cNvSpPr>
          <p:nvPr/>
        </p:nvSpPr>
        <p:spPr bwMode="auto">
          <a:xfrm>
            <a:off x="354533" y="5327286"/>
            <a:ext cx="638415" cy="638415"/>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Freeform 635"/>
          <p:cNvSpPr>
            <a:spLocks noChangeAspect="1" noEditPoints="1"/>
          </p:cNvSpPr>
          <p:nvPr/>
        </p:nvSpPr>
        <p:spPr bwMode="auto">
          <a:xfrm>
            <a:off x="354533" y="3011378"/>
            <a:ext cx="638415" cy="638415"/>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pic>
        <p:nvPicPr>
          <p:cNvPr id="29" name="Imagen 24" descr="Resultado de imagen">
            <a:hlinkClick r:id="rId2" action="ppaction://hlinksldjump"/>
          </p:cNvPr>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46050" y="6249978"/>
            <a:ext cx="402723" cy="380320"/>
          </a:xfrm>
          <a:prstGeom prst="rect">
            <a:avLst/>
          </a:prstGeom>
          <a:noFill/>
          <a:ln>
            <a:noFill/>
          </a:ln>
        </p:spPr>
      </p:pic>
      <p:sp>
        <p:nvSpPr>
          <p:cNvPr id="2" name="TextBox 1"/>
          <p:cNvSpPr txBox="1"/>
          <p:nvPr/>
        </p:nvSpPr>
        <p:spPr>
          <a:xfrm>
            <a:off x="1097648" y="997455"/>
            <a:ext cx="2628000" cy="646331"/>
          </a:xfrm>
          <a:prstGeom prst="rect">
            <a:avLst/>
          </a:prstGeom>
          <a:noFill/>
        </p:spPr>
        <p:txBody>
          <a:bodyPr wrap="square" lIns="0" tIns="0" rIns="0" bIns="0" rtlCol="0">
            <a:spAutoFit/>
          </a:bodyPr>
          <a:lstStyle/>
          <a:p>
            <a:pPr algn="ctr">
              <a:spcBef>
                <a:spcPts val="600"/>
              </a:spcBef>
              <a:buSzPct val="100000"/>
            </a:pPr>
            <a:r>
              <a:rPr lang="es-CO" sz="1400" b="1" dirty="0">
                <a:solidFill>
                  <a:srgbClr val="046A38"/>
                </a:solidFill>
              </a:rPr>
              <a:t>Presentar los Paz y Salvo por concepto de pago de Derechos de Autor</a:t>
            </a:r>
            <a:endParaRPr lang="en-US" sz="1400" b="1" dirty="0">
              <a:solidFill>
                <a:srgbClr val="046A38"/>
              </a:solidFill>
            </a:endParaRPr>
          </a:p>
        </p:txBody>
      </p:sp>
      <p:sp>
        <p:nvSpPr>
          <p:cNvPr id="22" name="TextBox 21"/>
          <p:cNvSpPr txBox="1"/>
          <p:nvPr/>
        </p:nvSpPr>
        <p:spPr>
          <a:xfrm>
            <a:off x="1097648" y="5230995"/>
            <a:ext cx="2628000" cy="830997"/>
          </a:xfrm>
          <a:prstGeom prst="rect">
            <a:avLst/>
          </a:prstGeom>
          <a:noFill/>
        </p:spPr>
        <p:txBody>
          <a:bodyPr wrap="square" lIns="0" tIns="0" rIns="0" bIns="0" rtlCol="0">
            <a:spAutoFit/>
          </a:bodyPr>
          <a:lstStyle/>
          <a:p>
            <a:pPr algn="ctr">
              <a:spcBef>
                <a:spcPts val="600"/>
              </a:spcBef>
              <a:buSzPct val="100000"/>
            </a:pPr>
            <a:r>
              <a:rPr lang="es-CO" sz="1400" b="1" dirty="0">
                <a:solidFill>
                  <a:schemeClr val="accent2">
                    <a:lumMod val="50000"/>
                  </a:schemeClr>
                </a:solidFill>
              </a:rPr>
              <a:t>Presentar el documento de composición de la Junta de Programación </a:t>
            </a:r>
            <a:r>
              <a:rPr lang="es-CO" sz="1200" b="1" dirty="0">
                <a:solidFill>
                  <a:schemeClr val="accent2">
                    <a:lumMod val="50000"/>
                  </a:schemeClr>
                </a:solidFill>
              </a:rPr>
              <a:t>(Emisoras Comunitarias)</a:t>
            </a:r>
            <a:endParaRPr lang="en-US" sz="1200" b="1" dirty="0">
              <a:solidFill>
                <a:schemeClr val="accent2">
                  <a:lumMod val="50000"/>
                </a:schemeClr>
              </a:solidFill>
            </a:endParaRPr>
          </a:p>
        </p:txBody>
      </p:sp>
      <p:sp>
        <p:nvSpPr>
          <p:cNvPr id="23" name="TextBox 22"/>
          <p:cNvSpPr txBox="1"/>
          <p:nvPr/>
        </p:nvSpPr>
        <p:spPr>
          <a:xfrm>
            <a:off x="1097648" y="3007420"/>
            <a:ext cx="2628000" cy="861774"/>
          </a:xfrm>
          <a:prstGeom prst="rect">
            <a:avLst/>
          </a:prstGeom>
          <a:noFill/>
        </p:spPr>
        <p:txBody>
          <a:bodyPr wrap="square" lIns="0" tIns="0" rIns="0" bIns="0" rtlCol="0">
            <a:spAutoFit/>
          </a:bodyPr>
          <a:lstStyle/>
          <a:p>
            <a:pPr algn="ctr">
              <a:spcBef>
                <a:spcPts val="600"/>
              </a:spcBef>
              <a:buSzPct val="100000"/>
            </a:pPr>
            <a:r>
              <a:rPr lang="es-CO" sz="1400" b="1" dirty="0">
                <a:solidFill>
                  <a:schemeClr val="accent1"/>
                </a:solidFill>
              </a:rPr>
              <a:t>Realizar el pago al MINTIC de la Contraprestación por el Uso del Espectro</a:t>
            </a:r>
            <a:endParaRPr lang="en-US" sz="1400" b="1" dirty="0">
              <a:solidFill>
                <a:schemeClr val="accent1"/>
              </a:solidFill>
            </a:endParaRPr>
          </a:p>
        </p:txBody>
      </p:sp>
      <p:sp>
        <p:nvSpPr>
          <p:cNvPr id="3" name="Rectangle 2"/>
          <p:cNvSpPr/>
          <p:nvPr/>
        </p:nvSpPr>
        <p:spPr>
          <a:xfrm>
            <a:off x="3794588" y="5357760"/>
            <a:ext cx="5102146" cy="577466"/>
          </a:xfrm>
          <a:prstGeom prst="rect">
            <a:avLst/>
          </a:prstGeom>
          <a:ln>
            <a:solidFill>
              <a:schemeClr val="bg1">
                <a:lumMod val="75000"/>
              </a:schemeClr>
            </a:solidFill>
          </a:ln>
        </p:spPr>
        <p:txBody>
          <a:bodyPr wrap="square">
            <a:spAutoFit/>
          </a:bodyPr>
          <a:lstStyle/>
          <a:p>
            <a:pPr marL="0" lvl="1">
              <a:buSzPct val="100000"/>
            </a:pPr>
            <a:r>
              <a:rPr lang="es-CO" sz="1051" dirty="0"/>
              <a:t>Remitir anualmente una comunicación dirigida a la Subdirección de RDS del MINTIC con el documento actualizado de composición de la Junta de Programación y el listado de los integrantes.</a:t>
            </a:r>
            <a:endParaRPr lang="en-US" sz="1051" i="1" u="sng" dirty="0"/>
          </a:p>
        </p:txBody>
      </p:sp>
      <p:sp>
        <p:nvSpPr>
          <p:cNvPr id="24" name="Rectangle 23"/>
          <p:cNvSpPr/>
          <p:nvPr/>
        </p:nvSpPr>
        <p:spPr>
          <a:xfrm>
            <a:off x="3794588" y="1031887"/>
            <a:ext cx="5102146" cy="577466"/>
          </a:xfrm>
          <a:prstGeom prst="rect">
            <a:avLst/>
          </a:prstGeom>
          <a:ln>
            <a:solidFill>
              <a:schemeClr val="bg1">
                <a:lumMod val="75000"/>
              </a:schemeClr>
            </a:solidFill>
          </a:ln>
        </p:spPr>
        <p:txBody>
          <a:bodyPr wrap="square">
            <a:spAutoFit/>
          </a:bodyPr>
          <a:lstStyle/>
          <a:p>
            <a:pPr marL="0" lvl="1">
              <a:buSzPct val="100000"/>
            </a:pPr>
            <a:r>
              <a:rPr lang="es-ES" sz="1051" dirty="0"/>
              <a:t>Remitir al MINTIC los paz y salvo por concepto de pago de derechos de autor de las sociedades SAYCO y ACINPRO, vigentes a 31 de diciembre del año inmediatamente anterior.</a:t>
            </a:r>
          </a:p>
        </p:txBody>
      </p:sp>
      <p:sp>
        <p:nvSpPr>
          <p:cNvPr id="4" name="Rectangle 3"/>
          <p:cNvSpPr/>
          <p:nvPr/>
        </p:nvSpPr>
        <p:spPr>
          <a:xfrm>
            <a:off x="3794588" y="1876340"/>
            <a:ext cx="5102146" cy="3231654"/>
          </a:xfrm>
          <a:prstGeom prst="rect">
            <a:avLst/>
          </a:prstGeom>
          <a:ln>
            <a:solidFill>
              <a:schemeClr val="bg1">
                <a:lumMod val="75000"/>
              </a:schemeClr>
            </a:solidFill>
          </a:ln>
        </p:spPr>
        <p:txBody>
          <a:bodyPr wrap="square">
            <a:spAutoFit/>
          </a:bodyPr>
          <a:lstStyle/>
          <a:p>
            <a:pPr marL="0" lvl="1">
              <a:spcBef>
                <a:spcPts val="600"/>
              </a:spcBef>
              <a:buSzPct val="100000"/>
            </a:pPr>
            <a:r>
              <a:rPr lang="es-CO" sz="1050" dirty="0"/>
              <a:t>Autoliquidar y pagar la contraprestación por concepto de uso del espectro asociados al servicio, así: </a:t>
            </a:r>
          </a:p>
          <a:p>
            <a:pPr marL="311150" lvl="2" indent="-171450">
              <a:spcBef>
                <a:spcPts val="600"/>
              </a:spcBef>
              <a:buSzPct val="100000"/>
              <a:buFont typeface="Wingdings" panose="05000000000000000000" pitchFamily="2" charset="2"/>
              <a:buChar char="§"/>
            </a:pPr>
            <a:r>
              <a:rPr lang="es-CO" sz="1050" dirty="0"/>
              <a:t>Solicitar el Estado de Cuenta del Concesionario (valores adeudados para periodos anteriores, sanciones u otros), por medio de comunicación dirigida al Grupo de Facturación y Cartera del MINTIC, o a través de correo electrónico </a:t>
            </a:r>
            <a:r>
              <a:rPr lang="es-CO" sz="1050" dirty="0">
                <a:hlinkClick r:id="rId4"/>
              </a:rPr>
              <a:t>minticresponde@mintic.gov.co</a:t>
            </a:r>
            <a:endParaRPr lang="es-CO" sz="1050" dirty="0"/>
          </a:p>
          <a:p>
            <a:pPr marL="311150" lvl="2" indent="-171450">
              <a:spcBef>
                <a:spcPts val="600"/>
              </a:spcBef>
              <a:buSzPct val="100000"/>
              <a:buFont typeface="Wingdings" panose="05000000000000000000" pitchFamily="2" charset="2"/>
              <a:buChar char="§"/>
            </a:pPr>
            <a:r>
              <a:rPr lang="es-CO" sz="1050" dirty="0"/>
              <a:t>Generar el Formulario Único de Recaudo – FUR, ingresando al </a:t>
            </a:r>
            <a:r>
              <a:rPr lang="es-CO" sz="1050" b="1" dirty="0"/>
              <a:t>Sistema Electrónico de Recaudo </a:t>
            </a:r>
            <a:r>
              <a:rPr lang="es-CO" sz="1050" dirty="0"/>
              <a:t>– </a:t>
            </a:r>
            <a:r>
              <a:rPr lang="es-CO" sz="1050" b="1" dirty="0">
                <a:solidFill>
                  <a:schemeClr val="accent2">
                    <a:lumMod val="50000"/>
                  </a:schemeClr>
                </a:solidFill>
              </a:rPr>
              <a:t>SER </a:t>
            </a:r>
            <a:r>
              <a:rPr lang="es-CO" sz="1050" dirty="0">
                <a:solidFill>
                  <a:schemeClr val="accent2">
                    <a:lumMod val="50000"/>
                  </a:schemeClr>
                </a:solidFill>
              </a:rPr>
              <a:t>(</a:t>
            </a:r>
            <a:r>
              <a:rPr lang="es-CO" sz="1050" dirty="0">
                <a:solidFill>
                  <a:schemeClr val="accent2">
                    <a:lumMod val="50000"/>
                  </a:schemeClr>
                </a:solidFill>
                <a:hlinkClick r:id="rId5"/>
              </a:rPr>
              <a:t>http://mintic.gov.co/portal/604/w3-propertyvalue-7458.html</a:t>
            </a:r>
            <a:r>
              <a:rPr lang="es-CO" sz="1050" dirty="0">
                <a:solidFill>
                  <a:schemeClr val="accent2">
                    <a:lumMod val="50000"/>
                  </a:schemeClr>
                </a:solidFill>
              </a:rPr>
              <a:t>)</a:t>
            </a:r>
            <a:r>
              <a:rPr lang="es-CO" sz="1050" dirty="0">
                <a:solidFill>
                  <a:srgbClr val="7030A0"/>
                </a:solidFill>
              </a:rPr>
              <a:t> </a:t>
            </a:r>
            <a:r>
              <a:rPr lang="es-CO" sz="1050" dirty="0"/>
              <a:t>en la pestaña denominada “Ingresando al SER”, donde se incluyen los datos de identificación del operador, identificación del usuario y contraseña</a:t>
            </a:r>
            <a:r>
              <a:rPr lang="es-CO" sz="1050" dirty="0">
                <a:solidFill>
                  <a:srgbClr val="7030A0"/>
                </a:solidFill>
              </a:rPr>
              <a:t>, </a:t>
            </a:r>
            <a:r>
              <a:rPr lang="es-CO" sz="1050" dirty="0"/>
              <a:t>o solicitarlo por medio comunicación o a través de correo electrónico </a:t>
            </a:r>
            <a:r>
              <a:rPr lang="es-CO" sz="1050" dirty="0">
                <a:hlinkClick r:id="rId4"/>
              </a:rPr>
              <a:t>minticresponde@mintic.gov.co</a:t>
            </a:r>
            <a:r>
              <a:rPr lang="es-CO" sz="1050" dirty="0"/>
              <a:t>.</a:t>
            </a:r>
          </a:p>
          <a:p>
            <a:pPr marL="311150" lvl="2" indent="-171450">
              <a:spcBef>
                <a:spcPts val="600"/>
              </a:spcBef>
              <a:buSzPct val="100000"/>
              <a:buFont typeface="Wingdings" panose="05000000000000000000" pitchFamily="2" charset="2"/>
              <a:buChar char="§"/>
            </a:pPr>
            <a:r>
              <a:rPr lang="es-CO" sz="1050" dirty="0"/>
              <a:t>Si genera el FUR físico, se puede imprimir en impresora láser y pagar en los medios dispuestos por el MINTIC. Si genera el FUR electrónico, se puede realizar el pago por PSE en el link dispuesto para ello.</a:t>
            </a:r>
          </a:p>
        </p:txBody>
      </p:sp>
      <p:sp>
        <p:nvSpPr>
          <p:cNvPr id="25" name="Freeform 24"/>
          <p:cNvSpPr>
            <a:spLocks noChangeAspect="1" noEditPoints="1"/>
          </p:cNvSpPr>
          <p:nvPr/>
        </p:nvSpPr>
        <p:spPr bwMode="auto">
          <a:xfrm>
            <a:off x="354533" y="1002020"/>
            <a:ext cx="637198" cy="637200"/>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6812493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n 24" descr="Resultado de imagen">
            <a:hlinkClick r:id="rId2" action="ppaction://hlinksldjump"/>
          </p:cNvPr>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46050" y="6249978"/>
            <a:ext cx="402723" cy="380320"/>
          </a:xfrm>
          <a:prstGeom prst="rect">
            <a:avLst/>
          </a:prstGeom>
          <a:noFill/>
          <a:ln>
            <a:noFill/>
          </a:ln>
        </p:spPr>
      </p:pic>
      <p:sp>
        <p:nvSpPr>
          <p:cNvPr id="12" name="Rectangle 11"/>
          <p:cNvSpPr/>
          <p:nvPr/>
        </p:nvSpPr>
        <p:spPr>
          <a:xfrm>
            <a:off x="1288516" y="385977"/>
            <a:ext cx="6562409" cy="369332"/>
          </a:xfrm>
          <a:prstGeom prst="rect">
            <a:avLst/>
          </a:prstGeom>
        </p:spPr>
        <p:txBody>
          <a:bodyPr wrap="square">
            <a:spAutoFit/>
          </a:bodyPr>
          <a:lstStyle/>
          <a:p>
            <a:pPr algn="ctr">
              <a:spcBef>
                <a:spcPct val="0"/>
              </a:spcBef>
            </a:pPr>
            <a:r>
              <a:rPr lang="es-ES" b="1" dirty="0">
                <a:ea typeface="Open Sans" panose="020B0606030504020204" pitchFamily="34" charset="0"/>
                <a:cs typeface="Open Sans" panose="020B0606030504020204" pitchFamily="34" charset="0"/>
              </a:rPr>
              <a:t>Obligaciones permanentes</a:t>
            </a:r>
          </a:p>
        </p:txBody>
      </p:sp>
      <p:grpSp>
        <p:nvGrpSpPr>
          <p:cNvPr id="8" name="Group 7"/>
          <p:cNvGrpSpPr/>
          <p:nvPr/>
        </p:nvGrpSpPr>
        <p:grpSpPr>
          <a:xfrm>
            <a:off x="1024651" y="1651970"/>
            <a:ext cx="3430700" cy="734400"/>
            <a:chOff x="897676" y="2474494"/>
            <a:chExt cx="3430700" cy="734400"/>
          </a:xfrm>
        </p:grpSpPr>
        <p:sp>
          <p:nvSpPr>
            <p:cNvPr id="18" name="Rounded Rectangle 17">
              <a:hlinkClick r:id="rId4" action="ppaction://hlinksldjump"/>
            </p:cNvPr>
            <p:cNvSpPr/>
            <p:nvPr/>
          </p:nvSpPr>
          <p:spPr>
            <a:xfrm>
              <a:off x="1592376" y="2474494"/>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CO" altLang="ja-JP" sz="1200" b="1" dirty="0">
                  <a:solidFill>
                    <a:schemeClr val="accent6">
                      <a:lumMod val="75000"/>
                    </a:schemeClr>
                  </a:solidFill>
                  <a:ea typeface="Open Sans" panose="020B0606030504020204" pitchFamily="34" charset="0"/>
                  <a:cs typeface="Open Sans" panose="020B0606030504020204" pitchFamily="34" charset="0"/>
                </a:rPr>
                <a:t>Inscripción y actualización del Registro TIC</a:t>
              </a:r>
            </a:p>
          </p:txBody>
        </p:sp>
        <p:grpSp>
          <p:nvGrpSpPr>
            <p:cNvPr id="3" name="Group 2"/>
            <p:cNvGrpSpPr/>
            <p:nvPr/>
          </p:nvGrpSpPr>
          <p:grpSpPr>
            <a:xfrm>
              <a:off x="897676" y="2517694"/>
              <a:ext cx="723708" cy="648000"/>
              <a:chOff x="897676" y="2073512"/>
              <a:chExt cx="723708" cy="648000"/>
            </a:xfrm>
          </p:grpSpPr>
          <p:pic>
            <p:nvPicPr>
              <p:cNvPr id="61" name="Picture 60">
                <a:hlinkClick r:id="rId5"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6599" b="26082"/>
              <a:stretch/>
            </p:blipFill>
            <p:spPr>
              <a:xfrm>
                <a:off x="897676" y="2073512"/>
                <a:ext cx="723708" cy="648000"/>
              </a:xfrm>
              <a:prstGeom prst="rect">
                <a:avLst/>
              </a:prstGeom>
            </p:spPr>
          </p:pic>
          <p:sp>
            <p:nvSpPr>
              <p:cNvPr id="71" name="Freeform 320"/>
              <p:cNvSpPr>
                <a:spLocks noEditPoints="1"/>
              </p:cNvSpPr>
              <p:nvPr/>
            </p:nvSpPr>
            <p:spPr bwMode="auto">
              <a:xfrm>
                <a:off x="1118634" y="2226756"/>
                <a:ext cx="252000" cy="324000"/>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9" name="Group 8"/>
          <p:cNvGrpSpPr/>
          <p:nvPr/>
        </p:nvGrpSpPr>
        <p:grpSpPr>
          <a:xfrm>
            <a:off x="1014126" y="2579499"/>
            <a:ext cx="3451750" cy="734400"/>
            <a:chOff x="876626" y="3323584"/>
            <a:chExt cx="3451750" cy="734400"/>
          </a:xfrm>
        </p:grpSpPr>
        <p:sp>
          <p:nvSpPr>
            <p:cNvPr id="19" name="Rounded Rectangle 18">
              <a:hlinkClick r:id="rId7" action="ppaction://hlinksldjump"/>
            </p:cNvPr>
            <p:cNvSpPr/>
            <p:nvPr/>
          </p:nvSpPr>
          <p:spPr>
            <a:xfrm>
              <a:off x="1592376" y="3323584"/>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Constituir, aportar y mantener vigente la Garantía de Cumplimiento</a:t>
              </a:r>
            </a:p>
          </p:txBody>
        </p:sp>
        <p:grpSp>
          <p:nvGrpSpPr>
            <p:cNvPr id="5" name="Group 4"/>
            <p:cNvGrpSpPr/>
            <p:nvPr/>
          </p:nvGrpSpPr>
          <p:grpSpPr>
            <a:xfrm>
              <a:off x="876626" y="3384784"/>
              <a:ext cx="723276" cy="612000"/>
              <a:chOff x="876626" y="3062264"/>
              <a:chExt cx="723276" cy="612000"/>
            </a:xfrm>
          </p:grpSpPr>
          <p:pic>
            <p:nvPicPr>
              <p:cNvPr id="60" name="Picture 59">
                <a:hlinkClick r:id="rId4" action="ppaction://hlinksldjump"/>
              </p:cNvPr>
              <p:cNvPicPr>
                <a:picLocks noChangeAspect="1"/>
              </p:cNvPicPr>
              <p:nvPr/>
            </p:nvPicPr>
            <p:blipFill rotWithShape="1">
              <a:blip r:embed="rId8" cstate="screen">
                <a:extLst>
                  <a:ext uri="{28A0092B-C50C-407E-A947-70E740481C1C}">
                    <a14:useLocalDpi xmlns:a14="http://schemas.microsoft.com/office/drawing/2010/main"/>
                  </a:ext>
                </a:extLst>
              </a:blip>
              <a:srcRect l="32665" t="18623" r="33901" b="17725"/>
              <a:stretch/>
            </p:blipFill>
            <p:spPr>
              <a:xfrm>
                <a:off x="876626" y="3062264"/>
                <a:ext cx="723276" cy="612000"/>
              </a:xfrm>
              <a:prstGeom prst="rect">
                <a:avLst/>
              </a:prstGeom>
            </p:spPr>
          </p:pic>
          <p:sp>
            <p:nvSpPr>
              <p:cNvPr id="72" name="Freeform 296"/>
              <p:cNvSpPr>
                <a:spLocks noEditPoints="1"/>
              </p:cNvSpPr>
              <p:nvPr/>
            </p:nvSpPr>
            <p:spPr bwMode="auto">
              <a:xfrm>
                <a:off x="1081008" y="3215275"/>
                <a:ext cx="360000" cy="288000"/>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0" name="Group 9"/>
          <p:cNvGrpSpPr/>
          <p:nvPr/>
        </p:nvGrpSpPr>
        <p:grpSpPr>
          <a:xfrm>
            <a:off x="1024137" y="3507028"/>
            <a:ext cx="3431729" cy="732847"/>
            <a:chOff x="931520" y="4116782"/>
            <a:chExt cx="3431729" cy="732847"/>
          </a:xfrm>
        </p:grpSpPr>
        <p:sp>
          <p:nvSpPr>
            <p:cNvPr id="24" name="Rounded Rectangle 23">
              <a:hlinkClick r:id="rId9" action="ppaction://hlinksldjump"/>
            </p:cNvPr>
            <p:cNvSpPr/>
            <p:nvPr/>
          </p:nvSpPr>
          <p:spPr>
            <a:xfrm>
              <a:off x="1627249" y="4116782"/>
              <a:ext cx="2736000" cy="732847"/>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Elaborar el Manual de Estilo, ponerlo a disposición de la comunidad y presentar copia al MINTIC</a:t>
              </a:r>
            </a:p>
          </p:txBody>
        </p:sp>
        <p:grpSp>
          <p:nvGrpSpPr>
            <p:cNvPr id="6" name="Group 5"/>
            <p:cNvGrpSpPr/>
            <p:nvPr/>
          </p:nvGrpSpPr>
          <p:grpSpPr>
            <a:xfrm>
              <a:off x="931520" y="4141205"/>
              <a:ext cx="698552" cy="684000"/>
              <a:chOff x="931520" y="3924012"/>
              <a:chExt cx="698552" cy="684000"/>
            </a:xfrm>
          </p:grpSpPr>
          <p:pic>
            <p:nvPicPr>
              <p:cNvPr id="62" name="Picture 61">
                <a:hlinkClick r:id="rId7" action="ppaction://hlinksldjump"/>
              </p:cNvPr>
              <p:cNvPicPr>
                <a:picLocks noChangeAspect="1"/>
              </p:cNvPicPr>
              <p:nvPr/>
            </p:nvPicPr>
            <p:blipFill rotWithShape="1">
              <a:blip r:embed="rId10" cstate="screen">
                <a:extLst>
                  <a:ext uri="{28A0092B-C50C-407E-A947-70E740481C1C}">
                    <a14:useLocalDpi xmlns:a14="http://schemas.microsoft.com/office/drawing/2010/main"/>
                  </a:ext>
                </a:extLst>
              </a:blip>
              <a:srcRect l="35693" t="14841" r="33317" b="16531"/>
              <a:stretch/>
            </p:blipFill>
            <p:spPr>
              <a:xfrm>
                <a:off x="931520" y="3924012"/>
                <a:ext cx="698552" cy="684000"/>
              </a:xfrm>
              <a:prstGeom prst="rect">
                <a:avLst/>
              </a:prstGeom>
            </p:spPr>
          </p:pic>
          <p:sp>
            <p:nvSpPr>
              <p:cNvPr id="73" name="Freeform 120"/>
              <p:cNvSpPr>
                <a:spLocks noEditPoints="1"/>
              </p:cNvSpPr>
              <p:nvPr/>
            </p:nvSpPr>
            <p:spPr bwMode="auto">
              <a:xfrm>
                <a:off x="1096415" y="4109635"/>
                <a:ext cx="324000" cy="324000"/>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1" name="Group 10"/>
          <p:cNvGrpSpPr/>
          <p:nvPr/>
        </p:nvGrpSpPr>
        <p:grpSpPr>
          <a:xfrm>
            <a:off x="1039148" y="4433004"/>
            <a:ext cx="3401707" cy="734400"/>
            <a:chOff x="920887" y="5025474"/>
            <a:chExt cx="3401707" cy="734400"/>
          </a:xfrm>
        </p:grpSpPr>
        <p:sp>
          <p:nvSpPr>
            <p:cNvPr id="22" name="Rounded Rectangle 21">
              <a:hlinkClick r:id="rId11" action="ppaction://hlinksldjump"/>
            </p:cNvPr>
            <p:cNvSpPr/>
            <p:nvPr/>
          </p:nvSpPr>
          <p:spPr>
            <a:xfrm>
              <a:off x="1586594" y="5025474"/>
              <a:ext cx="2736000" cy="734400"/>
            </a:xfrm>
            <a:prstGeom prst="roundRect">
              <a:avLst>
                <a:gd name="adj" fmla="val 10178"/>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Adaptar la publicidad y pauta comercial a la orientación de la programación</a:t>
              </a:r>
            </a:p>
          </p:txBody>
        </p:sp>
        <p:grpSp>
          <p:nvGrpSpPr>
            <p:cNvPr id="27" name="Group 26"/>
            <p:cNvGrpSpPr/>
            <p:nvPr/>
          </p:nvGrpSpPr>
          <p:grpSpPr>
            <a:xfrm>
              <a:off x="920887" y="5050674"/>
              <a:ext cx="698552" cy="684000"/>
              <a:chOff x="920887" y="4892502"/>
              <a:chExt cx="698552" cy="684000"/>
            </a:xfrm>
          </p:grpSpPr>
          <p:pic>
            <p:nvPicPr>
              <p:cNvPr id="63" name="Picture 62">
                <a:hlinkClick r:id="rId9" action="ppaction://hlinksldjump"/>
              </p:cNvPr>
              <p:cNvPicPr>
                <a:picLocks noChangeAspect="1"/>
              </p:cNvPicPr>
              <p:nvPr/>
            </p:nvPicPr>
            <p:blipFill rotWithShape="1">
              <a:blip r:embed="rId10" cstate="screen">
                <a:extLst>
                  <a:ext uri="{28A0092B-C50C-407E-A947-70E740481C1C}">
                    <a14:useLocalDpi xmlns:a14="http://schemas.microsoft.com/office/drawing/2010/main"/>
                  </a:ext>
                </a:extLst>
              </a:blip>
              <a:srcRect l="35693" t="14841" r="33317" b="16531"/>
              <a:stretch/>
            </p:blipFill>
            <p:spPr>
              <a:xfrm>
                <a:off x="920887" y="4892502"/>
                <a:ext cx="698552" cy="684000"/>
              </a:xfrm>
              <a:prstGeom prst="rect">
                <a:avLst/>
              </a:prstGeom>
            </p:spPr>
          </p:pic>
          <p:sp>
            <p:nvSpPr>
              <p:cNvPr id="74" name="Freeform 770"/>
              <p:cNvSpPr>
                <a:spLocks noEditPoints="1"/>
              </p:cNvSpPr>
              <p:nvPr/>
            </p:nvSpPr>
            <p:spPr bwMode="auto">
              <a:xfrm>
                <a:off x="1113758" y="5052621"/>
                <a:ext cx="288000" cy="360000"/>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3" name="Group 12"/>
          <p:cNvGrpSpPr/>
          <p:nvPr/>
        </p:nvGrpSpPr>
        <p:grpSpPr>
          <a:xfrm>
            <a:off x="4824907" y="1651522"/>
            <a:ext cx="3441484" cy="734400"/>
            <a:chOff x="4828250" y="1713119"/>
            <a:chExt cx="3441484" cy="734400"/>
          </a:xfrm>
        </p:grpSpPr>
        <p:sp>
          <p:nvSpPr>
            <p:cNvPr id="25" name="Rounded Rectangle 24">
              <a:hlinkClick r:id="rId12" action="ppaction://hlinksldjump"/>
            </p:cNvPr>
            <p:cNvSpPr/>
            <p:nvPr/>
          </p:nvSpPr>
          <p:spPr>
            <a:xfrm>
              <a:off x="5533734" y="1713119"/>
              <a:ext cx="2736000" cy="734400"/>
            </a:xfrm>
            <a:prstGeom prst="roundRect">
              <a:avLst>
                <a:gd name="adj" fmla="val 10178"/>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Reinvertir sus recursos en el funcionamiento de la emisora</a:t>
              </a:r>
            </a:p>
          </p:txBody>
        </p:sp>
        <p:grpSp>
          <p:nvGrpSpPr>
            <p:cNvPr id="30" name="Group 29"/>
            <p:cNvGrpSpPr/>
            <p:nvPr/>
          </p:nvGrpSpPr>
          <p:grpSpPr>
            <a:xfrm>
              <a:off x="4828250" y="1738319"/>
              <a:ext cx="698552" cy="684000"/>
              <a:chOff x="4861188" y="2094270"/>
              <a:chExt cx="698552" cy="684000"/>
            </a:xfrm>
          </p:grpSpPr>
          <p:pic>
            <p:nvPicPr>
              <p:cNvPr id="64" name="Picture 63">
                <a:hlinkClick r:id="rId12" action="ppaction://hlinksldjump"/>
              </p:cNvPr>
              <p:cNvPicPr>
                <a:picLocks noChangeAspect="1"/>
              </p:cNvPicPr>
              <p:nvPr/>
            </p:nvPicPr>
            <p:blipFill rotWithShape="1">
              <a:blip r:embed="rId10" cstate="screen">
                <a:extLst>
                  <a:ext uri="{28A0092B-C50C-407E-A947-70E740481C1C}">
                    <a14:useLocalDpi xmlns:a14="http://schemas.microsoft.com/office/drawing/2010/main"/>
                  </a:ext>
                </a:extLst>
              </a:blip>
              <a:srcRect l="35693" t="14841" r="33317" b="16531"/>
              <a:stretch/>
            </p:blipFill>
            <p:spPr>
              <a:xfrm>
                <a:off x="4861188" y="2094270"/>
                <a:ext cx="698552" cy="684000"/>
              </a:xfrm>
              <a:prstGeom prst="rect">
                <a:avLst/>
              </a:prstGeom>
            </p:spPr>
          </p:pic>
          <p:sp>
            <p:nvSpPr>
              <p:cNvPr id="76" name="Freeform 70"/>
              <p:cNvSpPr>
                <a:spLocks noEditPoints="1"/>
              </p:cNvSpPr>
              <p:nvPr/>
            </p:nvSpPr>
            <p:spPr bwMode="auto">
              <a:xfrm>
                <a:off x="5003782" y="2261494"/>
                <a:ext cx="360000" cy="36000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4" name="Group 13"/>
          <p:cNvGrpSpPr/>
          <p:nvPr/>
        </p:nvGrpSpPr>
        <p:grpSpPr>
          <a:xfrm>
            <a:off x="4827852" y="2578774"/>
            <a:ext cx="3454062" cy="734400"/>
            <a:chOff x="4815672" y="2543372"/>
            <a:chExt cx="3454062" cy="734400"/>
          </a:xfrm>
        </p:grpSpPr>
        <p:sp>
          <p:nvSpPr>
            <p:cNvPr id="21" name="Rounded Rectangle 20">
              <a:hlinkClick r:id="" action="ppaction://noaction"/>
            </p:cNvPr>
            <p:cNvSpPr/>
            <p:nvPr/>
          </p:nvSpPr>
          <p:spPr>
            <a:xfrm>
              <a:off x="5533734" y="2543372"/>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Pago oportuno de contraprestaciones</a:t>
              </a:r>
            </a:p>
          </p:txBody>
        </p:sp>
        <p:grpSp>
          <p:nvGrpSpPr>
            <p:cNvPr id="31" name="Group 30"/>
            <p:cNvGrpSpPr/>
            <p:nvPr/>
          </p:nvGrpSpPr>
          <p:grpSpPr>
            <a:xfrm>
              <a:off x="4815672" y="2586572"/>
              <a:ext cx="723708" cy="648000"/>
              <a:chOff x="4848610" y="3039494"/>
              <a:chExt cx="723708" cy="648000"/>
            </a:xfrm>
          </p:grpSpPr>
          <p:pic>
            <p:nvPicPr>
              <p:cNvPr id="55" name="Picture 54">
                <a:hlinkClick r:id="rId13"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6599" b="26082"/>
              <a:stretch/>
            </p:blipFill>
            <p:spPr>
              <a:xfrm>
                <a:off x="4848610" y="3039494"/>
                <a:ext cx="723708" cy="648000"/>
              </a:xfrm>
              <a:prstGeom prst="rect">
                <a:avLst/>
              </a:prstGeom>
            </p:spPr>
          </p:pic>
          <p:sp>
            <p:nvSpPr>
              <p:cNvPr id="77" name="Freeform 640"/>
              <p:cNvSpPr>
                <a:spLocks noEditPoints="1"/>
              </p:cNvSpPr>
              <p:nvPr/>
            </p:nvSpPr>
            <p:spPr bwMode="auto">
              <a:xfrm>
                <a:off x="5008930" y="3203683"/>
                <a:ext cx="360000" cy="288000"/>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5" name="Group 14"/>
          <p:cNvGrpSpPr/>
          <p:nvPr/>
        </p:nvGrpSpPr>
        <p:grpSpPr>
          <a:xfrm>
            <a:off x="4827852" y="3506026"/>
            <a:ext cx="3454062" cy="734400"/>
            <a:chOff x="4815672" y="3395737"/>
            <a:chExt cx="3454062" cy="734400"/>
          </a:xfrm>
        </p:grpSpPr>
        <p:sp>
          <p:nvSpPr>
            <p:cNvPr id="34" name="Rounded Rectangle 33">
              <a:hlinkClick r:id="rId9" action="ppaction://hlinksldjump"/>
            </p:cNvPr>
            <p:cNvSpPr/>
            <p:nvPr/>
          </p:nvSpPr>
          <p:spPr>
            <a:xfrm>
              <a:off x="5533734" y="3395737"/>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Conservar las grabaciones de programas informativos, periodísticos y discursos</a:t>
              </a:r>
            </a:p>
          </p:txBody>
        </p:sp>
        <p:grpSp>
          <p:nvGrpSpPr>
            <p:cNvPr id="32" name="Group 31"/>
            <p:cNvGrpSpPr/>
            <p:nvPr/>
          </p:nvGrpSpPr>
          <p:grpSpPr>
            <a:xfrm>
              <a:off x="4815672" y="3438937"/>
              <a:ext cx="723708" cy="648000"/>
              <a:chOff x="4848610" y="3960012"/>
              <a:chExt cx="723708" cy="648000"/>
            </a:xfrm>
          </p:grpSpPr>
          <p:pic>
            <p:nvPicPr>
              <p:cNvPr id="56" name="Picture 55">
                <a:hlinkClick r:id="rId14"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6599" b="26082"/>
              <a:stretch/>
            </p:blipFill>
            <p:spPr>
              <a:xfrm>
                <a:off x="4848610" y="3960012"/>
                <a:ext cx="723708" cy="648000"/>
              </a:xfrm>
              <a:prstGeom prst="rect">
                <a:avLst/>
              </a:prstGeom>
            </p:spPr>
          </p:pic>
          <p:sp>
            <p:nvSpPr>
              <p:cNvPr id="79" name="Freeform 631"/>
              <p:cNvSpPr>
                <a:spLocks noChangeAspect="1" noEditPoints="1"/>
              </p:cNvSpPr>
              <p:nvPr/>
            </p:nvSpPr>
            <p:spPr bwMode="auto">
              <a:xfrm>
                <a:off x="4917665" y="4016485"/>
                <a:ext cx="576000" cy="576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6" name="Group 15"/>
          <p:cNvGrpSpPr/>
          <p:nvPr/>
        </p:nvGrpSpPr>
        <p:grpSpPr>
          <a:xfrm>
            <a:off x="4829902" y="4433278"/>
            <a:ext cx="3459954" cy="734400"/>
            <a:chOff x="4815672" y="4253721"/>
            <a:chExt cx="3459954" cy="734400"/>
          </a:xfrm>
        </p:grpSpPr>
        <p:sp>
          <p:nvSpPr>
            <p:cNvPr id="37" name="Rounded Rectangle 36">
              <a:hlinkClick r:id="rId9" action="ppaction://hlinksldjump"/>
            </p:cNvPr>
            <p:cNvSpPr/>
            <p:nvPr/>
          </p:nvSpPr>
          <p:spPr>
            <a:xfrm>
              <a:off x="5539626" y="4253721"/>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Diseñar y orientar la programación de acuerdo con el servicio autorizado</a:t>
              </a:r>
            </a:p>
          </p:txBody>
        </p:sp>
        <p:grpSp>
          <p:nvGrpSpPr>
            <p:cNvPr id="33" name="Group 32"/>
            <p:cNvGrpSpPr/>
            <p:nvPr/>
          </p:nvGrpSpPr>
          <p:grpSpPr>
            <a:xfrm>
              <a:off x="4815672" y="4296921"/>
              <a:ext cx="723708" cy="648000"/>
              <a:chOff x="4848610" y="4892502"/>
              <a:chExt cx="723708" cy="648000"/>
            </a:xfrm>
          </p:grpSpPr>
          <p:pic>
            <p:nvPicPr>
              <p:cNvPr id="57" name="Picture 56">
                <a:hlinkClick r:id="rId15"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6599" b="26082"/>
              <a:stretch/>
            </p:blipFill>
            <p:spPr>
              <a:xfrm>
                <a:off x="4848610" y="4892502"/>
                <a:ext cx="723708" cy="648000"/>
              </a:xfrm>
              <a:prstGeom prst="rect">
                <a:avLst/>
              </a:prstGeom>
            </p:spPr>
          </p:pic>
          <p:sp>
            <p:nvSpPr>
              <p:cNvPr id="80" name="Freeform 970"/>
              <p:cNvSpPr>
                <a:spLocks noEditPoints="1"/>
              </p:cNvSpPr>
              <p:nvPr/>
            </p:nvSpPr>
            <p:spPr bwMode="auto">
              <a:xfrm>
                <a:off x="5026950" y="5036507"/>
                <a:ext cx="288000" cy="324000"/>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52" name="Oval 51"/>
          <p:cNvSpPr/>
          <p:nvPr/>
        </p:nvSpPr>
        <p:spPr bwMode="gray">
          <a:xfrm>
            <a:off x="7959209" y="414931"/>
            <a:ext cx="108000" cy="108000"/>
          </a:xfrm>
          <a:prstGeom prst="ellipse">
            <a:avLst/>
          </a:prstGeom>
          <a:solidFill>
            <a:schemeClr val="accent4">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Oval 52"/>
          <p:cNvSpPr/>
          <p:nvPr/>
        </p:nvSpPr>
        <p:spPr bwMode="gray">
          <a:xfrm>
            <a:off x="7959209" y="582657"/>
            <a:ext cx="108000" cy="1080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Oval 53"/>
          <p:cNvSpPr/>
          <p:nvPr/>
        </p:nvSpPr>
        <p:spPr bwMode="gray">
          <a:xfrm>
            <a:off x="7959209" y="752181"/>
            <a:ext cx="108000" cy="108000"/>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8" name="TextBox 77"/>
          <p:cNvSpPr txBox="1"/>
          <p:nvPr/>
        </p:nvSpPr>
        <p:spPr>
          <a:xfrm>
            <a:off x="8092990" y="415249"/>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Comercial</a:t>
            </a:r>
            <a:endParaRPr lang="en-US" sz="700" dirty="0">
              <a:solidFill>
                <a:srgbClr val="313131"/>
              </a:solidFill>
            </a:endParaRPr>
          </a:p>
        </p:txBody>
      </p:sp>
      <p:sp>
        <p:nvSpPr>
          <p:cNvPr id="82" name="TextBox 81"/>
          <p:cNvSpPr txBox="1"/>
          <p:nvPr/>
        </p:nvSpPr>
        <p:spPr>
          <a:xfrm>
            <a:off x="8092990" y="575384"/>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Comunitaria</a:t>
            </a:r>
            <a:endParaRPr lang="en-US" sz="700" dirty="0">
              <a:solidFill>
                <a:srgbClr val="313131"/>
              </a:solidFill>
            </a:endParaRPr>
          </a:p>
        </p:txBody>
      </p:sp>
      <p:sp>
        <p:nvSpPr>
          <p:cNvPr id="83" name="TextBox 82"/>
          <p:cNvSpPr txBox="1"/>
          <p:nvPr/>
        </p:nvSpPr>
        <p:spPr>
          <a:xfrm>
            <a:off x="8092989" y="751185"/>
            <a:ext cx="855783" cy="107722"/>
          </a:xfrm>
          <a:prstGeom prst="rect">
            <a:avLst/>
          </a:prstGeom>
          <a:noFill/>
        </p:spPr>
        <p:txBody>
          <a:bodyPr wrap="square" lIns="0" tIns="0" rIns="0" bIns="0" rtlCol="0">
            <a:spAutoFit/>
          </a:bodyPr>
          <a:lstStyle/>
          <a:p>
            <a:pPr>
              <a:spcBef>
                <a:spcPts val="600"/>
              </a:spcBef>
              <a:buSzPct val="100000"/>
            </a:pPr>
            <a:r>
              <a:rPr lang="es-CO" sz="700" dirty="0">
                <a:solidFill>
                  <a:srgbClr val="313131"/>
                </a:solidFill>
              </a:rPr>
              <a:t>Interés Público</a:t>
            </a:r>
            <a:endParaRPr lang="en-US" sz="700" dirty="0">
              <a:solidFill>
                <a:srgbClr val="313131"/>
              </a:solidFill>
            </a:endParaRPr>
          </a:p>
        </p:txBody>
      </p:sp>
      <p:grpSp>
        <p:nvGrpSpPr>
          <p:cNvPr id="23" name="Group 22"/>
          <p:cNvGrpSpPr/>
          <p:nvPr/>
        </p:nvGrpSpPr>
        <p:grpSpPr>
          <a:xfrm>
            <a:off x="2852444" y="5360531"/>
            <a:ext cx="3434552" cy="734400"/>
            <a:chOff x="4828250" y="5037176"/>
            <a:chExt cx="3434552" cy="734400"/>
          </a:xfrm>
        </p:grpSpPr>
        <p:sp>
          <p:nvSpPr>
            <p:cNvPr id="20" name="Rounded Rectangle 19">
              <a:hlinkClick r:id="rId12" action="ppaction://hlinksldjump"/>
            </p:cNvPr>
            <p:cNvSpPr/>
            <p:nvPr/>
          </p:nvSpPr>
          <p:spPr>
            <a:xfrm>
              <a:off x="5526802" y="5037176"/>
              <a:ext cx="2736000" cy="734400"/>
            </a:xfrm>
            <a:prstGeom prst="roundRect">
              <a:avLst>
                <a:gd name="adj" fmla="val 101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s-ES" altLang="ja-JP" sz="1200" b="1" dirty="0">
                  <a:solidFill>
                    <a:schemeClr val="accent6">
                      <a:lumMod val="75000"/>
                    </a:schemeClr>
                  </a:solidFill>
                  <a:ea typeface="Open Sans" panose="020B0606030504020204" pitchFamily="34" charset="0"/>
                  <a:cs typeface="Open Sans" panose="020B0606030504020204" pitchFamily="34" charset="0"/>
                </a:rPr>
                <a:t>Mantener informado al MINTIC</a:t>
              </a:r>
            </a:p>
          </p:txBody>
        </p:sp>
        <p:grpSp>
          <p:nvGrpSpPr>
            <p:cNvPr id="4" name="Group 3"/>
            <p:cNvGrpSpPr/>
            <p:nvPr/>
          </p:nvGrpSpPr>
          <p:grpSpPr>
            <a:xfrm>
              <a:off x="4828250" y="5080376"/>
              <a:ext cx="723708" cy="648000"/>
              <a:chOff x="4828250" y="4996998"/>
              <a:chExt cx="723708" cy="648000"/>
            </a:xfrm>
          </p:grpSpPr>
          <p:pic>
            <p:nvPicPr>
              <p:cNvPr id="84" name="Picture 83">
                <a:hlinkClick r:id="rId11" action="ppaction://hlinksldjump"/>
              </p:cNvPr>
              <p:cNvPicPr>
                <a:picLocks noChangeAspect="1"/>
              </p:cNvPicPr>
              <p:nvPr/>
            </p:nvPicPr>
            <p:blipFill rotWithShape="1">
              <a:blip r:embed="rId6" cstate="screen">
                <a:extLst>
                  <a:ext uri="{28A0092B-C50C-407E-A947-70E740481C1C}">
                    <a14:useLocalDpi xmlns:a14="http://schemas.microsoft.com/office/drawing/2010/main"/>
                  </a:ext>
                </a:extLst>
              </a:blip>
              <a:srcRect l="36599" b="26082"/>
              <a:stretch/>
            </p:blipFill>
            <p:spPr>
              <a:xfrm>
                <a:off x="4828250" y="4996998"/>
                <a:ext cx="723708" cy="648000"/>
              </a:xfrm>
              <a:prstGeom prst="rect">
                <a:avLst/>
              </a:prstGeom>
            </p:spPr>
          </p:pic>
          <p:sp>
            <p:nvSpPr>
              <p:cNvPr id="75" name="Freeform 683"/>
              <p:cNvSpPr>
                <a:spLocks noEditPoints="1"/>
              </p:cNvSpPr>
              <p:nvPr/>
            </p:nvSpPr>
            <p:spPr bwMode="auto">
              <a:xfrm>
                <a:off x="5022040" y="5140998"/>
                <a:ext cx="288000" cy="360000"/>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27605510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13554" y="5363542"/>
            <a:ext cx="6538772" cy="900246"/>
          </a:xfrm>
          <a:prstGeom prst="rect">
            <a:avLst/>
          </a:prstGeom>
          <a:ln>
            <a:noFill/>
          </a:ln>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114300" lvl="1" indent="-114300">
              <a:buSzPct val="100000"/>
              <a:buFont typeface="Arial"/>
              <a:buChar char="•"/>
            </a:pPr>
            <a:r>
              <a:rPr lang="es-CO" sz="1050" dirty="0"/>
              <a:t>Cuando le sea otorgada la licencia de concesión del servicio de Radiodifusión Sonora.</a:t>
            </a:r>
          </a:p>
          <a:p>
            <a:pPr marL="114300" lvl="1" indent="-114300">
              <a:buSzPct val="100000"/>
              <a:buFont typeface="Arial"/>
              <a:buChar char="•"/>
            </a:pPr>
            <a:r>
              <a:rPr lang="es-CO" sz="1050" dirty="0"/>
              <a:t>Cuando se requiera actualizar, aclarar o corregir la información contenida en el Registro de TIC, dentro de los diez (10) días hábiles siguientes a la fecha en que se produzca un cambio en la misma, o cuando el MINTIC lo requiera. </a:t>
            </a:r>
          </a:p>
        </p:txBody>
      </p:sp>
      <p:sp>
        <p:nvSpPr>
          <p:cNvPr id="17" name="Rectangle 16"/>
          <p:cNvSpPr/>
          <p:nvPr/>
        </p:nvSpPr>
        <p:spPr>
          <a:xfrm>
            <a:off x="1239521" y="552945"/>
            <a:ext cx="6452407" cy="584775"/>
          </a:xfrm>
          <a:prstGeom prst="rect">
            <a:avLst/>
          </a:prstGeom>
        </p:spPr>
        <p:txBody>
          <a:bodyPr wrap="none">
            <a:spAutoFit/>
          </a:bodyPr>
          <a:lstStyle/>
          <a:p>
            <a:pPr>
              <a:spcBef>
                <a:spcPct val="0"/>
              </a:spcBef>
            </a:pPr>
            <a:r>
              <a:rPr lang="es-CO" sz="2000" b="1" dirty="0">
                <a:ea typeface="Open Sans" panose="020B0606030504020204" pitchFamily="34" charset="0"/>
                <a:cs typeface="Open Sans" panose="020B0606030504020204" pitchFamily="34" charset="0"/>
              </a:rPr>
              <a:t>Inscripción y actualización del Registro TIC</a:t>
            </a:r>
          </a:p>
          <a:p>
            <a:pPr algn="ctr">
              <a:spcBef>
                <a:spcPct val="0"/>
              </a:spcBef>
            </a:pPr>
            <a:r>
              <a:rPr lang="es-CO" sz="1200" b="1" dirty="0">
                <a:ea typeface="Open Sans" panose="020B0606030504020204" pitchFamily="34" charset="0"/>
                <a:cs typeface="Open Sans" panose="020B0606030504020204" pitchFamily="34" charset="0"/>
              </a:rPr>
              <a:t>Todos los Concesionarios</a:t>
            </a:r>
          </a:p>
        </p:txBody>
      </p:sp>
      <p:sp>
        <p:nvSpPr>
          <p:cNvPr id="11" name="Rectangle 10"/>
          <p:cNvSpPr/>
          <p:nvPr/>
        </p:nvSpPr>
        <p:spPr>
          <a:xfrm>
            <a:off x="1613554" y="1523477"/>
            <a:ext cx="6538772" cy="3970318"/>
          </a:xfrm>
          <a:prstGeom prst="rect">
            <a:avLst/>
          </a:prstGeom>
        </p:spPr>
        <p:txBody>
          <a:bodyPr wrap="square">
            <a:spAutoFit/>
          </a:bodyPr>
          <a:lstStyle/>
          <a:p>
            <a:pPr marL="0" lvl="2">
              <a:spcBef>
                <a:spcPts val="600"/>
              </a:spcBef>
              <a:buSzPct val="100000"/>
            </a:pPr>
            <a:r>
              <a:rPr lang="es-CO" altLang="ja-JP" sz="1050" b="1" dirty="0">
                <a:solidFill>
                  <a:srgbClr val="009A44"/>
                </a:solidFill>
              </a:rPr>
              <a:t>¿Cómo?</a:t>
            </a:r>
          </a:p>
          <a:p>
            <a:pPr marL="114300" lvl="1" indent="-114300">
              <a:spcBef>
                <a:spcPts val="0"/>
              </a:spcBef>
              <a:buSzPct val="100000"/>
              <a:buFont typeface="Arial"/>
              <a:buChar char="•"/>
            </a:pPr>
            <a:r>
              <a:rPr lang="es-CO" sz="1050" dirty="0"/>
              <a:t>Ir a la página web del Ministerio TIC </a:t>
            </a:r>
            <a:r>
              <a:rPr lang="es-CO" sz="1050" dirty="0">
                <a:hlinkClick r:id="rId2"/>
              </a:rPr>
              <a:t>www.mintic.gov.co</a:t>
            </a:r>
            <a:r>
              <a:rPr lang="es-CO" sz="1050" dirty="0"/>
              <a:t> en el menú </a:t>
            </a:r>
            <a:r>
              <a:rPr lang="es-CO" sz="1050" i="1" dirty="0"/>
              <a:t>ATENCION AL PUBLICO</a:t>
            </a:r>
            <a:r>
              <a:rPr lang="es-CO" sz="1050" dirty="0"/>
              <a:t> seleccionar Radiodifusión Sonora y dar clic en </a:t>
            </a:r>
            <a:r>
              <a:rPr lang="es-CO" sz="1050" i="1" dirty="0"/>
              <a:t>Registro TIC de Radiodifusión Sonora.</a:t>
            </a:r>
          </a:p>
          <a:p>
            <a:pPr marL="114300" lvl="1" indent="-114300">
              <a:spcBef>
                <a:spcPts val="0"/>
              </a:spcBef>
              <a:buSzPct val="100000"/>
              <a:buFont typeface="Arial"/>
              <a:buChar char="•"/>
            </a:pPr>
            <a:endParaRPr lang="es-CO" sz="1050" i="1" dirty="0"/>
          </a:p>
          <a:p>
            <a:pPr marL="114300" lvl="1" indent="-114300">
              <a:spcBef>
                <a:spcPts val="0"/>
              </a:spcBef>
              <a:buSzPct val="100000"/>
              <a:buFont typeface="Arial"/>
              <a:buChar char="•"/>
            </a:pPr>
            <a:r>
              <a:rPr lang="es-CO" sz="1050" dirty="0"/>
              <a:t>Seguir los siguientes pasos:</a:t>
            </a:r>
          </a:p>
          <a:p>
            <a:pPr marL="628650" lvl="1" indent="-171450">
              <a:buSzPct val="100000"/>
              <a:buFont typeface="Arial" panose="020B0604020202020204" pitchFamily="34" charset="0"/>
              <a:buChar char="•"/>
            </a:pPr>
            <a:r>
              <a:rPr lang="es-CO" sz="1050" dirty="0"/>
              <a:t>Solicitar usuario y clave.</a:t>
            </a:r>
          </a:p>
          <a:p>
            <a:pPr marL="628650" lvl="1" indent="-171450">
              <a:buSzPct val="100000"/>
              <a:buFont typeface="Arial" panose="020B0604020202020204" pitchFamily="34" charset="0"/>
              <a:buChar char="•"/>
            </a:pPr>
            <a:r>
              <a:rPr lang="es-CO" sz="1050" dirty="0"/>
              <a:t>En el momento de recibir su usuario y clave, diligenciar el formulario de solicitud de Registro de TIC, a través de la opción "</a:t>
            </a:r>
            <a:r>
              <a:rPr lang="es-CO" sz="1050" i="1" dirty="0"/>
              <a:t>Registro, Modificación, Retiro</a:t>
            </a:r>
            <a:r>
              <a:rPr lang="es-CO" sz="1050" dirty="0"/>
              <a:t>“</a:t>
            </a:r>
          </a:p>
          <a:p>
            <a:pPr marL="628650" lvl="1" indent="-171450">
              <a:buSzPct val="100000"/>
              <a:buFont typeface="Arial" panose="020B0604020202020204" pitchFamily="34" charset="0"/>
              <a:buChar char="•"/>
            </a:pPr>
            <a:r>
              <a:rPr lang="es-CO" sz="1050" dirty="0"/>
              <a:t>El concesionario recibirá mediante correo electrónico un número de radicado para realizar seguimiento a su solicitud.</a:t>
            </a:r>
          </a:p>
          <a:p>
            <a:pPr marL="628650" lvl="1" indent="-171450">
              <a:buSzPct val="100000"/>
              <a:buFont typeface="Arial" panose="020B0604020202020204" pitchFamily="34" charset="0"/>
              <a:buChar char="•"/>
            </a:pPr>
            <a:r>
              <a:rPr lang="es-CO" sz="1050" dirty="0"/>
              <a:t>Presentar la solicitud y los documentos requeridos (se pueden incluir escaneados, sino es posible debe remitirse en fisico indicando el numero de solicitud), así:</a:t>
            </a:r>
          </a:p>
          <a:p>
            <a:pPr marL="1073150" lvl="2" indent="-158750">
              <a:buSzPct val="100000"/>
              <a:buFont typeface="Wingdings" panose="05000000000000000000" pitchFamily="2" charset="2"/>
              <a:buChar char="ü"/>
            </a:pPr>
            <a:r>
              <a:rPr lang="es-CO" sz="1050" dirty="0"/>
              <a:t>Fotocopia RUT.</a:t>
            </a:r>
          </a:p>
          <a:p>
            <a:pPr marL="1073150" lvl="2" indent="-158750">
              <a:buSzPct val="100000"/>
              <a:buFont typeface="Wingdings" panose="05000000000000000000" pitchFamily="2" charset="2"/>
              <a:buChar char="ü"/>
            </a:pPr>
            <a:r>
              <a:rPr lang="es-CO" sz="1050" dirty="0"/>
              <a:t>Fotocopia del documento de identidad del Representante Legal.</a:t>
            </a:r>
          </a:p>
          <a:p>
            <a:pPr marL="1073150" lvl="2" indent="-158750">
              <a:buSzPct val="100000"/>
              <a:buFont typeface="Wingdings" panose="05000000000000000000" pitchFamily="2" charset="2"/>
              <a:buChar char="ü"/>
            </a:pPr>
            <a:r>
              <a:rPr lang="es-CO" sz="1050" dirty="0"/>
              <a:t>Fotocopia del documento de identidad de los socios o junta directiva que figuren en el certificado de cámara y comercio (si aplica).</a:t>
            </a:r>
          </a:p>
          <a:p>
            <a:pPr marL="1073150" lvl="2" indent="-158750">
              <a:buSzPct val="100000"/>
              <a:buFont typeface="Wingdings" panose="05000000000000000000" pitchFamily="2" charset="2"/>
              <a:buChar char="ü"/>
            </a:pPr>
            <a:r>
              <a:rPr lang="es-CO" sz="1050" dirty="0"/>
              <a:t>Si realiza el trámite por medio de un apoderado, debe adjuntar a la solicitud una carta autorizando a la persona para que realice el trámite correspondiente al igual que la fotocopia del documento de identidad.</a:t>
            </a:r>
          </a:p>
          <a:p>
            <a:pPr>
              <a:buSzPct val="100000"/>
            </a:pPr>
            <a:endParaRPr lang="es-CO" sz="1050" dirty="0"/>
          </a:p>
          <a:p>
            <a:pPr>
              <a:buSzPct val="100000"/>
            </a:pPr>
            <a:r>
              <a:rPr lang="es-CO" sz="1050" dirty="0"/>
              <a:t>El obligado a inscribirse contará con un (1) mes, contado a partir del día siguiente a la inscripción, para remitir físicamente al Ministerio de Tecnologías de la Información y las Comunicaciones los documentos que no haya enviado electrónicamente.</a:t>
            </a:r>
          </a:p>
          <a:p>
            <a:pPr>
              <a:buSzPct val="100000"/>
            </a:pPr>
            <a:endParaRPr lang="es-CO" sz="1050" dirty="0"/>
          </a:p>
        </p:txBody>
      </p:sp>
      <p:sp>
        <p:nvSpPr>
          <p:cNvPr id="30" name="Diagonal Stripe 29"/>
          <p:cNvSpPr/>
          <p:nvPr/>
        </p:nvSpPr>
        <p:spPr>
          <a:xfrm>
            <a:off x="1325907" y="1679613"/>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Diagonal Stripe 30"/>
          <p:cNvSpPr/>
          <p:nvPr/>
        </p:nvSpPr>
        <p:spPr>
          <a:xfrm flipV="1">
            <a:off x="1325730" y="1359705"/>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Diagonal Stripe 34"/>
          <p:cNvSpPr/>
          <p:nvPr/>
        </p:nvSpPr>
        <p:spPr>
          <a:xfrm>
            <a:off x="1325730" y="5837829"/>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Diagonal Stripe 35"/>
          <p:cNvSpPr/>
          <p:nvPr/>
        </p:nvSpPr>
        <p:spPr>
          <a:xfrm flipV="1">
            <a:off x="1325553" y="5517921"/>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3"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pic>
        <p:nvPicPr>
          <p:cNvPr id="23" name="Picture 22"/>
          <p:cNvPicPr>
            <a:picLocks noChangeAspect="1"/>
          </p:cNvPicPr>
          <p:nvPr/>
        </p:nvPicPr>
        <p:blipFill>
          <a:blip r:embed="rId4"/>
          <a:stretch>
            <a:fillRect/>
          </a:stretch>
        </p:blipFill>
        <p:spPr>
          <a:xfrm>
            <a:off x="7804762" y="0"/>
            <a:ext cx="1237595" cy="1274174"/>
          </a:xfrm>
          <a:prstGeom prst="rect">
            <a:avLst/>
          </a:prstGeom>
        </p:spPr>
      </p:pic>
      <p:sp>
        <p:nvSpPr>
          <p:cNvPr id="24" name="Freeform 320"/>
          <p:cNvSpPr>
            <a:spLocks noEditPoints="1"/>
          </p:cNvSpPr>
          <p:nvPr/>
        </p:nvSpPr>
        <p:spPr bwMode="auto">
          <a:xfrm>
            <a:off x="8247432" y="365903"/>
            <a:ext cx="396000" cy="504000"/>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7352687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129160" y="1544900"/>
            <a:ext cx="7013008" cy="4616648"/>
          </a:xfrm>
          <a:prstGeom prst="rect">
            <a:avLst/>
          </a:prstGeom>
          <a:ln>
            <a:noFill/>
          </a:ln>
        </p:spPr>
        <p:txBody>
          <a:bodyPr wrap="square">
            <a:spAutoFit/>
          </a:bodyPr>
          <a:lstStyle/>
          <a:p>
            <a:pPr marL="0" lvl="2">
              <a:spcBef>
                <a:spcPts val="600"/>
              </a:spcBef>
              <a:buSzPct val="100000"/>
            </a:pPr>
            <a:r>
              <a:rPr lang="es-CO" altLang="ja-JP" sz="1050" b="1" dirty="0">
                <a:solidFill>
                  <a:srgbClr val="009A44"/>
                </a:solidFill>
              </a:rPr>
              <a:t>¿Cómo?</a:t>
            </a:r>
            <a:endParaRPr lang="es-CO" altLang="ja-JP" sz="1050" b="1" dirty="0">
              <a:solidFill>
                <a:srgbClr val="009A44"/>
              </a:solidFill>
              <a:ea typeface="ＭＳ Ｐゴシック" pitchFamily="50" charset="-128"/>
            </a:endParaRPr>
          </a:p>
          <a:p>
            <a:pPr marL="457200" lvl="2">
              <a:buSzPct val="100000"/>
            </a:pPr>
            <a:r>
              <a:rPr lang="es-CO" sz="1050" dirty="0"/>
              <a:t>Constituir una garantía que cubra el pago de las contraprestaciones que se deben efectuar con ocasión del otorgamiento o prórroga de la concesión, así como el cumplimiento de las obligaciones derivadas del servicio de RDS. La garantía debe cumplir con los siguientes requisitos:</a:t>
            </a:r>
          </a:p>
          <a:p>
            <a:pPr marL="457200" lvl="2">
              <a:buSzPct val="100000"/>
            </a:pPr>
            <a:endParaRPr lang="es-CO" sz="1050" dirty="0"/>
          </a:p>
          <a:p>
            <a:pPr marL="685800" lvl="2" indent="-228600">
              <a:buSzPct val="100000"/>
              <a:buFont typeface="+mj-lt"/>
              <a:buAutoNum type="arabicPeriod"/>
            </a:pPr>
            <a:r>
              <a:rPr lang="es-CO" sz="1050" dirty="0"/>
              <a:t>Para la constitución de la garantía el Asegurado y Beneficiario son: Ministerio de Tecnologías de la Información y las Comunicaciones MINTIC (NIT. 899.999.053-1) y Fondo de Tecnologías de la Información y las Comunicaciones – FONTIC (NIT. 800.131.648-6).</a:t>
            </a:r>
          </a:p>
          <a:p>
            <a:pPr marL="685800" lvl="2" indent="-228600">
              <a:buSzPct val="100000"/>
              <a:buFont typeface="+mj-lt"/>
              <a:buAutoNum type="arabicPeriod"/>
            </a:pPr>
            <a:r>
              <a:rPr lang="es-CO" sz="1050" dirty="0"/>
              <a:t>El plazo de la garantía, deberá cubrir el tiempo de vigencia de la licencia de concesión y un (1) año adicional.</a:t>
            </a:r>
          </a:p>
          <a:p>
            <a:pPr marL="685800" lvl="2" indent="-228600">
              <a:buSzPct val="100000"/>
              <a:buFont typeface="+mj-lt"/>
              <a:buAutoNum type="arabicPeriod"/>
            </a:pPr>
            <a:r>
              <a:rPr lang="es-CO" sz="1050" dirty="0"/>
              <a:t>En caso de constituir una garantía por un plazo inferior al de la licencia, el concesionario debe prorrogarla u obtener una nueva garantía para el periodo subsiguiente.</a:t>
            </a:r>
          </a:p>
          <a:p>
            <a:pPr marL="685800" lvl="2" indent="-228600">
              <a:buSzPct val="100000"/>
              <a:buFont typeface="+mj-lt"/>
              <a:buAutoNum type="arabicPeriod"/>
            </a:pPr>
            <a:r>
              <a:rPr lang="es-CO" sz="1050" dirty="0"/>
              <a:t>La garantía se debe constituir por un valor equivalente al 20% del valor de la concesión o prórroga.</a:t>
            </a:r>
          </a:p>
          <a:p>
            <a:pPr marL="685800" lvl="2" indent="-228600">
              <a:buSzPct val="100000"/>
              <a:buFont typeface="+mj-lt"/>
              <a:buAutoNum type="arabicPeriod"/>
            </a:pPr>
            <a:r>
              <a:rPr lang="es-CO" sz="1050" dirty="0"/>
              <a:t>Las primas de la garantía deben estar pagadas al 100%, para esto debe mantener el recibo original de pago donde se evidencie el valor cancelado. </a:t>
            </a:r>
          </a:p>
          <a:p>
            <a:pPr marL="685800" lvl="2" indent="-228600">
              <a:buSzPct val="100000"/>
              <a:buFont typeface="+mj-lt"/>
              <a:buAutoNum type="arabicPeriod"/>
            </a:pPr>
            <a:r>
              <a:rPr lang="es-CO" sz="1050" dirty="0"/>
              <a:t>La garantía deberá encontrarse firmada por el representante legal de la aseguradora o garante y por el representante legal o apoderado del concesionario. </a:t>
            </a:r>
          </a:p>
          <a:p>
            <a:pPr marL="685800" lvl="2" indent="-228600">
              <a:buSzPct val="100000"/>
              <a:buFont typeface="+mj-lt"/>
              <a:buAutoNum type="arabicPeriod"/>
            </a:pPr>
            <a:r>
              <a:rPr lang="es-CO" sz="1050" dirty="0"/>
              <a:t>La garantía debe indicar claramente  en el objeto lo siguiente: el numero de resolución y/o contrato de otorgamiento o prórroga de la concesión.</a:t>
            </a:r>
          </a:p>
          <a:p>
            <a:pPr marL="457200" lvl="2">
              <a:buSzPct val="100000"/>
            </a:pPr>
            <a:endParaRPr lang="es-CO" sz="1050" dirty="0"/>
          </a:p>
          <a:p>
            <a:pPr marL="457200" lvl="2">
              <a:buSzPct val="100000"/>
            </a:pPr>
            <a:r>
              <a:rPr lang="es-CO" sz="1050" dirty="0"/>
              <a:t>Enviar comunicación a la Subdirección de RDS del MINTIC incluyendo:</a:t>
            </a:r>
          </a:p>
          <a:p>
            <a:pPr marL="685800" lvl="2" indent="-228600">
              <a:buSzPct val="100000"/>
              <a:buFont typeface="+mj-lt"/>
              <a:buAutoNum type="arabicPeriod"/>
            </a:pPr>
            <a:r>
              <a:rPr lang="es-CO" sz="1050" dirty="0"/>
              <a:t>Original de la garantía constituida sin tachaduras ni enmendaduras junto al clausulado de condiciones generales de la misma.</a:t>
            </a:r>
          </a:p>
          <a:p>
            <a:pPr marL="685800" lvl="2" indent="-228600">
              <a:buSzPct val="100000"/>
              <a:buFont typeface="+mj-lt"/>
              <a:buAutoNum type="arabicPeriod"/>
            </a:pPr>
            <a:r>
              <a:rPr lang="es-CO" sz="1050" dirty="0"/>
              <a:t>Recibo original de pago donde se evidencie el valor cancelado o certificación donde conste el valor pagado.</a:t>
            </a:r>
          </a:p>
        </p:txBody>
      </p:sp>
      <p:sp>
        <p:nvSpPr>
          <p:cNvPr id="17" name="Rectangle 16"/>
          <p:cNvSpPr/>
          <p:nvPr/>
        </p:nvSpPr>
        <p:spPr>
          <a:xfrm>
            <a:off x="1732543" y="248996"/>
            <a:ext cx="5434922" cy="923330"/>
          </a:xfrm>
          <a:prstGeom prst="rect">
            <a:avLst/>
          </a:prstGeom>
        </p:spPr>
        <p:txBody>
          <a:bodyPr wrap="square" anchor="ctr">
            <a:spAutoFit/>
          </a:bodyPr>
          <a:lstStyle/>
          <a:p>
            <a:pPr algn="ctr">
              <a:spcBef>
                <a:spcPct val="0"/>
              </a:spcBef>
            </a:pPr>
            <a:r>
              <a:rPr lang="es-ES" sz="2000" b="1" dirty="0">
                <a:ea typeface="Open Sans" panose="020B0606030504020204" pitchFamily="34" charset="0"/>
                <a:cs typeface="Open Sans" panose="020B0606030504020204" pitchFamily="34" charset="0"/>
              </a:rPr>
              <a:t>Constituir, aportar y mantener vigente la Garantía de Cumplimiento</a:t>
            </a:r>
          </a:p>
          <a:p>
            <a:pPr algn="ctr">
              <a:spcBef>
                <a:spcPct val="0"/>
              </a:spcBef>
            </a:pPr>
            <a:r>
              <a:rPr lang="es-CO" sz="1200" b="1" dirty="0">
                <a:ea typeface="Open Sans" panose="020B0606030504020204" pitchFamily="34" charset="0"/>
                <a:cs typeface="Open Sans" panose="020B0606030504020204" pitchFamily="34" charset="0"/>
              </a:rPr>
              <a:t>Concesionarios Comerciales y Comunitarios</a:t>
            </a:r>
          </a:p>
        </p:txBody>
      </p:sp>
      <p:sp>
        <p:nvSpPr>
          <p:cNvPr id="21" name="Rectangle 20"/>
          <p:cNvSpPr/>
          <p:nvPr/>
        </p:nvSpPr>
        <p:spPr>
          <a:xfrm>
            <a:off x="1129160" y="6016636"/>
            <a:ext cx="7044745" cy="754053"/>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114300" lvl="1" indent="-114300">
              <a:spcBef>
                <a:spcPts val="600"/>
              </a:spcBef>
              <a:buSzPct val="100000"/>
              <a:buFont typeface="Arial"/>
              <a:buChar char="•"/>
            </a:pPr>
            <a:r>
              <a:rPr lang="es-CO" sz="1050" dirty="0"/>
              <a:t>Dentro de o administrativo respectivo o al perfeccionamiento del contrato de concesión.</a:t>
            </a:r>
          </a:p>
          <a:p>
            <a:pPr marL="114300" lvl="1" indent="-114300">
              <a:spcBef>
                <a:spcPts val="600"/>
              </a:spcBef>
              <a:buSzPct val="100000"/>
              <a:buFont typeface="Arial"/>
              <a:buChar char="•"/>
            </a:pPr>
            <a:r>
              <a:rPr lang="es-CO" sz="1050" dirty="0"/>
              <a:t>Treinta (30) días antes del vencimiento del cubrimiento de la garantía.</a:t>
            </a:r>
          </a:p>
        </p:txBody>
      </p:sp>
      <p:sp>
        <p:nvSpPr>
          <p:cNvPr id="37" name="Diagonal Stripe 36"/>
          <p:cNvSpPr/>
          <p:nvPr/>
        </p:nvSpPr>
        <p:spPr>
          <a:xfrm>
            <a:off x="803060" y="6361620"/>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809423" y="6042640"/>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sp>
        <p:nvSpPr>
          <p:cNvPr id="40" name="Hexagon 39"/>
          <p:cNvSpPr/>
          <p:nvPr/>
        </p:nvSpPr>
        <p:spPr bwMode="gray">
          <a:xfrm>
            <a:off x="1293004" y="1830403"/>
            <a:ext cx="288000" cy="252000"/>
          </a:xfrm>
          <a:prstGeom prst="hexagon">
            <a:avLst/>
          </a:prstGeom>
          <a:solidFill>
            <a:srgbClr val="2C523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r>
              <a:rPr lang="es-CO" sz="1400" b="1" dirty="0">
                <a:solidFill>
                  <a:schemeClr val="bg1"/>
                </a:solidFill>
              </a:rPr>
              <a:t>1</a:t>
            </a:r>
            <a:endParaRPr lang="en-US" sz="1400" b="1" dirty="0">
              <a:solidFill>
                <a:schemeClr val="bg1"/>
              </a:solidFill>
            </a:endParaRPr>
          </a:p>
        </p:txBody>
      </p:sp>
      <p:sp>
        <p:nvSpPr>
          <p:cNvPr id="41" name="Hexagon 40"/>
          <p:cNvSpPr/>
          <p:nvPr/>
        </p:nvSpPr>
        <p:spPr bwMode="gray">
          <a:xfrm>
            <a:off x="1293004" y="5106405"/>
            <a:ext cx="288000" cy="252000"/>
          </a:xfrm>
          <a:prstGeom prst="hexagon">
            <a:avLst/>
          </a:prstGeom>
          <a:solidFill>
            <a:srgbClr val="009A4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r>
              <a:rPr lang="es-CO" sz="1400" b="1" dirty="0">
                <a:solidFill>
                  <a:schemeClr val="bg1"/>
                </a:solidFill>
              </a:rPr>
              <a:t>2</a:t>
            </a:r>
            <a:endParaRPr lang="en-US" sz="1400" b="1" dirty="0">
              <a:solidFill>
                <a:schemeClr val="bg1"/>
              </a:solidFill>
            </a:endParaRPr>
          </a:p>
        </p:txBody>
      </p:sp>
      <p:sp>
        <p:nvSpPr>
          <p:cNvPr id="18" name="Diagonal Stripe 17"/>
          <p:cNvSpPr/>
          <p:nvPr/>
        </p:nvSpPr>
        <p:spPr>
          <a:xfrm>
            <a:off x="847700" y="1740557"/>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9" name="Diagonal Stripe 18"/>
          <p:cNvSpPr/>
          <p:nvPr/>
        </p:nvSpPr>
        <p:spPr>
          <a:xfrm flipV="1">
            <a:off x="847523" y="1420649"/>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pic>
        <p:nvPicPr>
          <p:cNvPr id="2" name="Picture 1"/>
          <p:cNvPicPr>
            <a:picLocks noChangeAspect="1"/>
          </p:cNvPicPr>
          <p:nvPr/>
        </p:nvPicPr>
        <p:blipFill>
          <a:blip r:embed="rId3"/>
          <a:stretch>
            <a:fillRect/>
          </a:stretch>
        </p:blipFill>
        <p:spPr>
          <a:xfrm>
            <a:off x="7135045" y="-1892"/>
            <a:ext cx="2597121" cy="1231499"/>
          </a:xfrm>
          <a:prstGeom prst="rect">
            <a:avLst/>
          </a:prstGeom>
        </p:spPr>
      </p:pic>
      <p:sp>
        <p:nvSpPr>
          <p:cNvPr id="27" name="Freeform 296"/>
          <p:cNvSpPr>
            <a:spLocks noEditPoints="1"/>
          </p:cNvSpPr>
          <p:nvPr/>
        </p:nvSpPr>
        <p:spPr bwMode="auto">
          <a:xfrm>
            <a:off x="8179686" y="373100"/>
            <a:ext cx="540000" cy="468000"/>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6121785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26213" y="5201342"/>
            <a:ext cx="2052000" cy="507831"/>
          </a:xfrm>
          <a:prstGeom prst="rect">
            <a:avLst/>
          </a:prstGeom>
          <a:ln>
            <a:noFill/>
          </a:ln>
        </p:spPr>
        <p:txBody>
          <a:bodyPr wrap="square">
            <a:spAutoFit/>
          </a:bodyPr>
          <a:lstStyle/>
          <a:p>
            <a:pPr marL="0" lvl="2">
              <a:spcBef>
                <a:spcPts val="600"/>
              </a:spcBef>
              <a:buSzPct val="100000"/>
            </a:pPr>
            <a:r>
              <a:rPr lang="es-CO" altLang="ja-JP" sz="1050" b="1" dirty="0">
                <a:solidFill>
                  <a:schemeClr val="accent6">
                    <a:lumMod val="75000"/>
                  </a:schemeClr>
                </a:solidFill>
                <a:ea typeface="ＭＳ Ｐゴシック" pitchFamily="50" charset="-128"/>
              </a:rPr>
              <a:t>¿Cuándo?</a:t>
            </a:r>
            <a:endParaRPr lang="en-US" altLang="ja-JP" sz="1050" b="1" dirty="0">
              <a:solidFill>
                <a:schemeClr val="accent6">
                  <a:lumMod val="75000"/>
                </a:schemeClr>
              </a:solidFill>
              <a:ea typeface="ＭＳ Ｐゴシック" pitchFamily="50" charset="-128"/>
            </a:endParaRPr>
          </a:p>
          <a:p>
            <a:pPr marL="0" lvl="2">
              <a:spcBef>
                <a:spcPts val="600"/>
              </a:spcBef>
              <a:buSzPct val="100000"/>
            </a:pPr>
            <a:r>
              <a:rPr lang="es-ES" sz="1050" dirty="0"/>
              <a:t>Permanente.</a:t>
            </a:r>
            <a:endParaRPr lang="en-US" sz="1050" dirty="0"/>
          </a:p>
        </p:txBody>
      </p:sp>
      <p:sp>
        <p:nvSpPr>
          <p:cNvPr id="15" name="Rectangle 14"/>
          <p:cNvSpPr/>
          <p:nvPr/>
        </p:nvSpPr>
        <p:spPr>
          <a:xfrm>
            <a:off x="771562" y="2752733"/>
            <a:ext cx="2052000" cy="2108269"/>
          </a:xfrm>
          <a:prstGeom prst="rect">
            <a:avLst/>
          </a:prstGeom>
          <a:ln>
            <a:noFill/>
          </a:ln>
        </p:spPr>
        <p:txBody>
          <a:bodyPr wrap="square">
            <a:spAutoFit/>
          </a:bodyPr>
          <a:lstStyle/>
          <a:p>
            <a:pPr marL="0" lvl="2">
              <a:spcBef>
                <a:spcPts val="600"/>
              </a:spcBef>
              <a:buSzPct val="100000"/>
            </a:pPr>
            <a:r>
              <a:rPr lang="es-CO" altLang="ja-JP" sz="1050" b="1" dirty="0">
                <a:solidFill>
                  <a:schemeClr val="accent4"/>
                </a:solidFill>
              </a:rPr>
              <a:t>¿Cómo?</a:t>
            </a:r>
            <a:endParaRPr lang="es-CO" altLang="ja-JP" sz="1050" b="1" dirty="0">
              <a:solidFill>
                <a:schemeClr val="accent4"/>
              </a:solidFill>
              <a:ea typeface="ＭＳ Ｐゴシック" pitchFamily="50" charset="-128"/>
            </a:endParaRPr>
          </a:p>
          <a:p>
            <a:pPr marL="0" lvl="2">
              <a:spcBef>
                <a:spcPts val="600"/>
              </a:spcBef>
              <a:buSzPct val="100000"/>
            </a:pPr>
            <a:r>
              <a:rPr lang="es-ES" sz="1050" dirty="0"/>
              <a:t>Elaborar y remitir una comunicación dirigida a la Subdirección de RDS del MINTIC, adjuntado una copia del Manual de Estilo, en el que se debe incluir la visión de la emisora y las políticas y principios para proteger los derechos de la audiencia y garantizar pluralismo informativo. </a:t>
            </a:r>
          </a:p>
        </p:txBody>
      </p:sp>
      <p:sp>
        <p:nvSpPr>
          <p:cNvPr id="16" name="Rectangle 15"/>
          <p:cNvSpPr/>
          <p:nvPr/>
        </p:nvSpPr>
        <p:spPr>
          <a:xfrm>
            <a:off x="6605978" y="2752733"/>
            <a:ext cx="2052000" cy="1785104"/>
          </a:xfrm>
          <a:prstGeom prst="rect">
            <a:avLst/>
          </a:prstGeom>
          <a:ln>
            <a:noFill/>
          </a:ln>
        </p:spPr>
        <p:txBody>
          <a:bodyPr wrap="square">
            <a:spAutoFit/>
          </a:bodyPr>
          <a:lstStyle/>
          <a:p>
            <a:pPr marL="0" lvl="2">
              <a:spcBef>
                <a:spcPts val="600"/>
              </a:spcBef>
              <a:buSzPct val="100000"/>
            </a:pPr>
            <a:r>
              <a:rPr lang="es-CO" altLang="ja-JP" sz="1050" b="1" dirty="0">
                <a:solidFill>
                  <a:schemeClr val="accent4">
                    <a:lumMod val="60000"/>
                    <a:lumOff val="40000"/>
                  </a:schemeClr>
                </a:solidFill>
              </a:rPr>
              <a:t>¿Cómo?</a:t>
            </a:r>
          </a:p>
          <a:p>
            <a:pPr marL="0" lvl="2">
              <a:spcBef>
                <a:spcPts val="600"/>
              </a:spcBef>
              <a:buSzPct val="100000"/>
            </a:pPr>
            <a:r>
              <a:rPr lang="es-ES" sz="1050" dirty="0"/>
              <a:t>Presentar al MINTIC una  copia del </a:t>
            </a:r>
            <a:r>
              <a:rPr lang="es-ES" sz="1050" i="1" dirty="0"/>
              <a:t>“Informe  de evaluación de los fines del servicio Comunitario de RDS y de aplicación del manual de estilo“ </a:t>
            </a:r>
            <a:r>
              <a:rPr lang="es-ES" sz="1050" dirty="0"/>
              <a:t>junto al soporte sonoro donde se lea este informe a la comunidad. </a:t>
            </a:r>
          </a:p>
        </p:txBody>
      </p:sp>
      <p:sp>
        <p:nvSpPr>
          <p:cNvPr id="17" name="Rectangle 16"/>
          <p:cNvSpPr/>
          <p:nvPr/>
        </p:nvSpPr>
        <p:spPr>
          <a:xfrm>
            <a:off x="1443789" y="366704"/>
            <a:ext cx="6268453" cy="1231106"/>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Elaborar el Manual de Estilo, ponerlo a disposición de la comunidad y presentar copia al MINTIC</a:t>
            </a:r>
          </a:p>
          <a:p>
            <a:pPr algn="ctr">
              <a:spcBef>
                <a:spcPct val="0"/>
              </a:spcBef>
            </a:pPr>
            <a:r>
              <a:rPr lang="es-CO" sz="1200" b="1" dirty="0">
                <a:ea typeface="Open Sans" panose="020B0606030504020204" pitchFamily="34" charset="0"/>
                <a:cs typeface="Open Sans" panose="020B0606030504020204" pitchFamily="34" charset="0"/>
              </a:rPr>
              <a:t>Concesionarios Comunitarios y de Interés Público</a:t>
            </a:r>
          </a:p>
        </p:txBody>
      </p:sp>
      <p:sp>
        <p:nvSpPr>
          <p:cNvPr id="18" name="TextBox 17"/>
          <p:cNvSpPr txBox="1"/>
          <p:nvPr/>
        </p:nvSpPr>
        <p:spPr>
          <a:xfrm>
            <a:off x="1504464" y="1537074"/>
            <a:ext cx="385737" cy="625687"/>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19" name="TextBox 18"/>
          <p:cNvSpPr txBox="1"/>
          <p:nvPr/>
        </p:nvSpPr>
        <p:spPr>
          <a:xfrm>
            <a:off x="4385145" y="1537074"/>
            <a:ext cx="385737" cy="625687"/>
          </a:xfrm>
          <a:prstGeom prst="rect">
            <a:avLst/>
          </a:prstGeom>
          <a:noFill/>
        </p:spPr>
        <p:txBody>
          <a:bodyPr wrap="square" lIns="36000" tIns="36000" rIns="36000" bIns="36000" rtlCol="0">
            <a:spAutoFit/>
          </a:bodyPr>
          <a:lstStyle/>
          <a:p>
            <a:r>
              <a:rPr lang="en-US" sz="4000" b="1" dirty="0">
                <a:solidFill>
                  <a:srgbClr val="009A44"/>
                </a:solidFill>
              </a:rPr>
              <a:t>2</a:t>
            </a:r>
          </a:p>
        </p:txBody>
      </p:sp>
      <p:sp>
        <p:nvSpPr>
          <p:cNvPr id="20" name="TextBox 19"/>
          <p:cNvSpPr txBox="1"/>
          <p:nvPr/>
        </p:nvSpPr>
        <p:spPr>
          <a:xfrm>
            <a:off x="7373183" y="1537074"/>
            <a:ext cx="385737" cy="625687"/>
          </a:xfrm>
          <a:prstGeom prst="rect">
            <a:avLst/>
          </a:prstGeom>
          <a:noFill/>
        </p:spPr>
        <p:txBody>
          <a:bodyPr wrap="square" lIns="36000" tIns="36000" rIns="36000" bIns="36000" rtlCol="0">
            <a:spAutoFit/>
          </a:bodyPr>
          <a:lstStyle/>
          <a:p>
            <a:r>
              <a:rPr lang="en-US" sz="4000" b="1" dirty="0">
                <a:solidFill>
                  <a:schemeClr val="accent4">
                    <a:lumMod val="60000"/>
                    <a:lumOff val="40000"/>
                  </a:schemeClr>
                </a:solidFill>
              </a:rPr>
              <a:t>3</a:t>
            </a:r>
          </a:p>
        </p:txBody>
      </p:sp>
      <p:sp>
        <p:nvSpPr>
          <p:cNvPr id="8" name="Rectangle 7"/>
          <p:cNvSpPr/>
          <p:nvPr/>
        </p:nvSpPr>
        <p:spPr>
          <a:xfrm>
            <a:off x="868577" y="2269967"/>
            <a:ext cx="1749198" cy="261610"/>
          </a:xfrm>
          <a:prstGeom prst="rect">
            <a:avLst/>
          </a:prstGeom>
        </p:spPr>
        <p:txBody>
          <a:bodyPr wrap="none">
            <a:spAutoFit/>
          </a:bodyPr>
          <a:lstStyle/>
          <a:p>
            <a:pPr marL="0" lvl="2" algn="ctr">
              <a:spcBef>
                <a:spcPts val="600"/>
              </a:spcBef>
              <a:buSzPct val="100000"/>
            </a:pPr>
            <a:r>
              <a:rPr lang="es-CO" sz="1100" b="1" dirty="0">
                <a:solidFill>
                  <a:schemeClr val="accent4"/>
                </a:solidFill>
              </a:rPr>
              <a:t>MANUAL DE ESTILO</a:t>
            </a:r>
          </a:p>
        </p:txBody>
      </p:sp>
      <p:sp>
        <p:nvSpPr>
          <p:cNvPr id="9" name="Rectangle 8"/>
          <p:cNvSpPr/>
          <p:nvPr/>
        </p:nvSpPr>
        <p:spPr>
          <a:xfrm>
            <a:off x="3526284" y="2185329"/>
            <a:ext cx="2103461" cy="430887"/>
          </a:xfrm>
          <a:prstGeom prst="rect">
            <a:avLst/>
          </a:prstGeom>
        </p:spPr>
        <p:txBody>
          <a:bodyPr wrap="none">
            <a:spAutoFit/>
          </a:bodyPr>
          <a:lstStyle/>
          <a:p>
            <a:pPr marL="0" lvl="2" algn="ctr">
              <a:buSzPct val="100000"/>
            </a:pPr>
            <a:r>
              <a:rPr lang="es-CO" sz="1100" b="1" dirty="0">
                <a:solidFill>
                  <a:srgbClr val="009A44"/>
                </a:solidFill>
              </a:rPr>
              <a:t>PONER A DISPOSICIÓN </a:t>
            </a:r>
          </a:p>
          <a:p>
            <a:pPr marL="0" lvl="2" algn="ctr">
              <a:buSzPct val="100000"/>
            </a:pPr>
            <a:r>
              <a:rPr lang="es-CO" sz="1100" b="1" dirty="0">
                <a:solidFill>
                  <a:srgbClr val="009A44"/>
                </a:solidFill>
              </a:rPr>
              <a:t>DEL PÚBLICO</a:t>
            </a:r>
          </a:p>
        </p:txBody>
      </p:sp>
      <p:sp>
        <p:nvSpPr>
          <p:cNvPr id="10" name="Rectangle 9"/>
          <p:cNvSpPr/>
          <p:nvPr/>
        </p:nvSpPr>
        <p:spPr>
          <a:xfrm>
            <a:off x="6468614" y="2116079"/>
            <a:ext cx="2052000" cy="569387"/>
          </a:xfrm>
          <a:prstGeom prst="rect">
            <a:avLst/>
          </a:prstGeom>
        </p:spPr>
        <p:txBody>
          <a:bodyPr wrap="square">
            <a:spAutoFit/>
          </a:bodyPr>
          <a:lstStyle/>
          <a:p>
            <a:pPr marL="0" lvl="2" algn="ctr">
              <a:spcBef>
                <a:spcPts val="600"/>
              </a:spcBef>
              <a:buSzPct val="100000"/>
            </a:pPr>
            <a:r>
              <a:rPr lang="es-CO" sz="1100" b="1" dirty="0">
                <a:solidFill>
                  <a:schemeClr val="accent4">
                    <a:lumMod val="60000"/>
                    <a:lumOff val="40000"/>
                  </a:schemeClr>
                </a:solidFill>
              </a:rPr>
              <a:t>INFORME ANUAL</a:t>
            </a:r>
            <a:br>
              <a:rPr lang="es-CO" sz="1100" b="1" dirty="0">
                <a:solidFill>
                  <a:schemeClr val="accent4">
                    <a:lumMod val="60000"/>
                    <a:lumOff val="40000"/>
                  </a:schemeClr>
                </a:solidFill>
              </a:rPr>
            </a:br>
            <a:r>
              <a:rPr lang="es-CO" sz="1000" b="1" dirty="0">
                <a:solidFill>
                  <a:schemeClr val="accent4">
                    <a:lumMod val="60000"/>
                    <a:lumOff val="40000"/>
                  </a:schemeClr>
                </a:solidFill>
              </a:rPr>
              <a:t>Solo para Concesionarios Comunitarios</a:t>
            </a:r>
          </a:p>
        </p:txBody>
      </p:sp>
      <p:sp>
        <p:nvSpPr>
          <p:cNvPr id="11" name="Rectangle 10"/>
          <p:cNvSpPr/>
          <p:nvPr/>
        </p:nvSpPr>
        <p:spPr>
          <a:xfrm>
            <a:off x="3621476" y="2752733"/>
            <a:ext cx="2052000" cy="2185214"/>
          </a:xfrm>
          <a:prstGeom prst="rect">
            <a:avLst/>
          </a:prstGeom>
        </p:spPr>
        <p:txBody>
          <a:bodyPr wrap="square">
            <a:spAutoFit/>
          </a:bodyPr>
          <a:lstStyle/>
          <a:p>
            <a:pPr marL="0" lvl="2">
              <a:spcBef>
                <a:spcPts val="600"/>
              </a:spcBef>
              <a:buSzPct val="100000"/>
            </a:pPr>
            <a:r>
              <a:rPr lang="es-CO" altLang="ja-JP" sz="1050" b="1" dirty="0">
                <a:solidFill>
                  <a:srgbClr val="009A44"/>
                </a:solidFill>
              </a:rPr>
              <a:t>¿Cómo?</a:t>
            </a:r>
          </a:p>
          <a:p>
            <a:pPr marL="0" lvl="2">
              <a:spcBef>
                <a:spcPts val="600"/>
              </a:spcBef>
              <a:buSzPct val="100000"/>
            </a:pPr>
            <a:r>
              <a:rPr lang="es-ES" sz="1050" dirty="0"/>
              <a:t>Disponer en los estudios de la emisora y/o en la sede del concesionario de una copia del manual de estilo para consulta de la comunidad. </a:t>
            </a:r>
          </a:p>
          <a:p>
            <a:pPr marL="0" lvl="2">
              <a:spcBef>
                <a:spcPts val="600"/>
              </a:spcBef>
              <a:buSzPct val="100000"/>
            </a:pPr>
            <a:r>
              <a:rPr lang="es-ES" sz="1050" dirty="0"/>
              <a:t>Además, se puede subir a la web de la emisora una copia para futuras consultas por parte de la comunidad.</a:t>
            </a:r>
          </a:p>
        </p:txBody>
      </p:sp>
      <p:sp>
        <p:nvSpPr>
          <p:cNvPr id="25" name="Diagonal Stripe 24"/>
          <p:cNvSpPr/>
          <p:nvPr/>
        </p:nvSpPr>
        <p:spPr>
          <a:xfrm>
            <a:off x="449630" y="2908869"/>
            <a:ext cx="288000" cy="288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455993" y="2589889"/>
            <a:ext cx="288000" cy="288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7" name="Diagonal Stripe 26"/>
          <p:cNvSpPr/>
          <p:nvPr/>
        </p:nvSpPr>
        <p:spPr>
          <a:xfrm>
            <a:off x="6317978" y="2908869"/>
            <a:ext cx="288000" cy="288000"/>
          </a:xfrm>
          <a:prstGeom prst="diagStripe">
            <a:avLst/>
          </a:prstGeom>
          <a:solidFill>
            <a:srgbClr val="0055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8" name="Diagonal Stripe 27"/>
          <p:cNvSpPr/>
          <p:nvPr/>
        </p:nvSpPr>
        <p:spPr>
          <a:xfrm flipV="1">
            <a:off x="6317978" y="2588961"/>
            <a:ext cx="288000" cy="288000"/>
          </a:xfrm>
          <a:prstGeom prst="diagStripe">
            <a:avLst/>
          </a:pr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Diagonal Stripe 29"/>
          <p:cNvSpPr/>
          <p:nvPr/>
        </p:nvSpPr>
        <p:spPr>
          <a:xfrm>
            <a:off x="3256034" y="2908869"/>
            <a:ext cx="288000" cy="2880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Diagonal Stripe 30"/>
          <p:cNvSpPr/>
          <p:nvPr/>
        </p:nvSpPr>
        <p:spPr>
          <a:xfrm flipV="1">
            <a:off x="3255857" y="2588961"/>
            <a:ext cx="288000" cy="288000"/>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Rectangle 31"/>
          <p:cNvSpPr/>
          <p:nvPr/>
        </p:nvSpPr>
        <p:spPr>
          <a:xfrm>
            <a:off x="6612614" y="5181631"/>
            <a:ext cx="2052000" cy="507831"/>
          </a:xfrm>
          <a:prstGeom prst="rect">
            <a:avLst/>
          </a:prstGeom>
          <a:ln>
            <a:noFill/>
          </a:ln>
        </p:spPr>
        <p:txBody>
          <a:bodyPr wrap="square">
            <a:spAutoFit/>
          </a:bodyPr>
          <a:lstStyle/>
          <a:p>
            <a:pPr marL="0" lvl="2">
              <a:spcBef>
                <a:spcPts val="600"/>
              </a:spcBef>
              <a:buSzPct val="100000"/>
            </a:pPr>
            <a:r>
              <a:rPr lang="es-CO" altLang="ja-JP" sz="1050" b="1" dirty="0">
                <a:solidFill>
                  <a:schemeClr val="tx1">
                    <a:lumMod val="85000"/>
                    <a:lumOff val="15000"/>
                  </a:schemeClr>
                </a:solidFill>
                <a:ea typeface="ＭＳ Ｐゴシック" pitchFamily="50" charset="-128"/>
              </a:rPr>
              <a:t>¿Cuándo?</a:t>
            </a:r>
            <a:endParaRPr lang="en-US" altLang="ja-JP" sz="1050" b="1" dirty="0">
              <a:solidFill>
                <a:schemeClr val="tx1">
                  <a:lumMod val="85000"/>
                  <a:lumOff val="15000"/>
                </a:schemeClr>
              </a:solidFill>
              <a:ea typeface="ＭＳ Ｐゴシック" pitchFamily="50" charset="-128"/>
            </a:endParaRPr>
          </a:p>
          <a:p>
            <a:pPr marL="0" lvl="2">
              <a:spcBef>
                <a:spcPts val="600"/>
              </a:spcBef>
              <a:buSzPct val="100000"/>
            </a:pPr>
            <a:r>
              <a:rPr lang="es-ES" sz="1050" dirty="0"/>
              <a:t>Una vez al año.</a:t>
            </a:r>
          </a:p>
        </p:txBody>
      </p:sp>
      <p:sp>
        <p:nvSpPr>
          <p:cNvPr id="33" name="Diagonal Stripe 32"/>
          <p:cNvSpPr/>
          <p:nvPr/>
        </p:nvSpPr>
        <p:spPr>
          <a:xfrm>
            <a:off x="6324614" y="5334195"/>
            <a:ext cx="288000" cy="288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Diagonal Stripe 33"/>
          <p:cNvSpPr/>
          <p:nvPr/>
        </p:nvSpPr>
        <p:spPr>
          <a:xfrm flipV="1">
            <a:off x="6324614" y="5014287"/>
            <a:ext cx="288000" cy="288000"/>
          </a:xfrm>
          <a:prstGeom prst="diagStripe">
            <a:avLst/>
          </a:prstGeom>
          <a:solidFill>
            <a:schemeClr val="tx1">
              <a:lumMod val="85000"/>
              <a:lumOff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Diagonal Stripe 34"/>
          <p:cNvSpPr/>
          <p:nvPr/>
        </p:nvSpPr>
        <p:spPr>
          <a:xfrm>
            <a:off x="3260594" y="5337689"/>
            <a:ext cx="288000" cy="288000"/>
          </a:xfrm>
          <a:prstGeom prst="diagStripe">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Diagonal Stripe 35"/>
          <p:cNvSpPr/>
          <p:nvPr/>
        </p:nvSpPr>
        <p:spPr>
          <a:xfrm flipV="1">
            <a:off x="3260417" y="5017781"/>
            <a:ext cx="288000" cy="288000"/>
          </a:xfrm>
          <a:prstGeom prst="diagStrip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771562" y="5166403"/>
            <a:ext cx="2052000" cy="1538883"/>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p>
          <a:p>
            <a:pPr marL="0" lvl="2">
              <a:spcBef>
                <a:spcPts val="600"/>
              </a:spcBef>
              <a:buSzPct val="100000"/>
            </a:pPr>
            <a:r>
              <a:rPr lang="es-CO" altLang="ja-JP" sz="1050" b="1" dirty="0"/>
              <a:t>Comunitaria:</a:t>
            </a:r>
            <a:r>
              <a:rPr lang="en-US" altLang="ja-JP" sz="1050" b="1" dirty="0"/>
              <a:t> </a:t>
            </a:r>
            <a:r>
              <a:rPr lang="es-CO" sz="1050" dirty="0"/>
              <a:t>Dentro de los seis (6) meses siguientes al otorgamiento de la licencia concesión.</a:t>
            </a:r>
          </a:p>
          <a:p>
            <a:pPr marL="0" lvl="2">
              <a:spcBef>
                <a:spcPts val="600"/>
              </a:spcBef>
              <a:buSzPct val="100000"/>
            </a:pPr>
            <a:r>
              <a:rPr lang="es-CO" sz="1050" b="1" dirty="0"/>
              <a:t>Interés Público: </a:t>
            </a:r>
            <a:r>
              <a:rPr lang="es-CO" sz="1050" dirty="0"/>
              <a:t>Es un requisito para obtener la licencia de concesión.</a:t>
            </a:r>
            <a:endParaRPr lang="en-US" altLang="ja-JP" sz="1050" b="1" dirty="0">
              <a:solidFill>
                <a:schemeClr val="bg2">
                  <a:lumMod val="25000"/>
                </a:schemeClr>
              </a:solidFill>
              <a:ea typeface="ＭＳ Ｐゴシック" pitchFamily="50" charset="-128"/>
            </a:endParaRPr>
          </a:p>
        </p:txBody>
      </p:sp>
      <p:sp>
        <p:nvSpPr>
          <p:cNvPr id="37" name="Diagonal Stripe 36"/>
          <p:cNvSpPr/>
          <p:nvPr/>
        </p:nvSpPr>
        <p:spPr>
          <a:xfrm>
            <a:off x="457697" y="5333267"/>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464060" y="5014287"/>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pic>
        <p:nvPicPr>
          <p:cNvPr id="2" name="Picture 1"/>
          <p:cNvPicPr>
            <a:picLocks noChangeAspect="1"/>
          </p:cNvPicPr>
          <p:nvPr/>
        </p:nvPicPr>
        <p:blipFill>
          <a:blip r:embed="rId3"/>
          <a:stretch>
            <a:fillRect/>
          </a:stretch>
        </p:blipFill>
        <p:spPr>
          <a:xfrm>
            <a:off x="7372057" y="2168"/>
            <a:ext cx="2030144" cy="1304657"/>
          </a:xfrm>
          <a:prstGeom prst="rect">
            <a:avLst/>
          </a:prstGeom>
        </p:spPr>
      </p:pic>
      <p:sp>
        <p:nvSpPr>
          <p:cNvPr id="47" name="Freeform 120"/>
          <p:cNvSpPr>
            <a:spLocks noEditPoints="1"/>
          </p:cNvSpPr>
          <p:nvPr/>
        </p:nvSpPr>
        <p:spPr bwMode="auto">
          <a:xfrm>
            <a:off x="8134488" y="383312"/>
            <a:ext cx="504000" cy="504000"/>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0400860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94418" y="2506467"/>
            <a:ext cx="2710019" cy="1061829"/>
          </a:xfrm>
          <a:prstGeom prst="rect">
            <a:avLst/>
          </a:prstGeom>
          <a:ln>
            <a:noFill/>
          </a:ln>
        </p:spPr>
        <p:txBody>
          <a:bodyPr wrap="square">
            <a:spAutoFit/>
          </a:bodyPr>
          <a:lstStyle/>
          <a:p>
            <a:pPr marL="0" lvl="2">
              <a:spcBef>
                <a:spcPts val="600"/>
              </a:spcBef>
              <a:buSzPct val="100000"/>
            </a:pPr>
            <a:r>
              <a:rPr lang="es-CO" altLang="ja-JP" sz="1050" b="1" dirty="0">
                <a:solidFill>
                  <a:schemeClr val="accent4"/>
                </a:solidFill>
              </a:rPr>
              <a:t>¿Cómo?</a:t>
            </a:r>
            <a:endParaRPr lang="es-CO" altLang="ja-JP" sz="1050" b="1" dirty="0">
              <a:solidFill>
                <a:schemeClr val="accent4"/>
              </a:solidFill>
              <a:ea typeface="ＭＳ Ｐゴシック" pitchFamily="50" charset="-128"/>
            </a:endParaRPr>
          </a:p>
          <a:p>
            <a:pPr marL="0" lvl="2">
              <a:buSzPct val="100000"/>
            </a:pPr>
            <a:r>
              <a:rPr lang="es-ES" sz="1050" dirty="0"/>
              <a:t>Por las estaciones de radiodifusión sonora comunitaria </a:t>
            </a:r>
            <a:r>
              <a:rPr lang="es-ES" sz="1050" b="1" dirty="0"/>
              <a:t>NO</a:t>
            </a:r>
            <a:r>
              <a:rPr lang="es-ES" sz="1050" dirty="0"/>
              <a:t> podrá transmitirse ningún tipo de programa con fines proselitistas ni publicidad política.</a:t>
            </a:r>
            <a:endParaRPr lang="es-ES" sz="1050" i="1" dirty="0"/>
          </a:p>
        </p:txBody>
      </p:sp>
      <p:sp>
        <p:nvSpPr>
          <p:cNvPr id="16" name="Rectangle 15"/>
          <p:cNvSpPr/>
          <p:nvPr/>
        </p:nvSpPr>
        <p:spPr>
          <a:xfrm>
            <a:off x="4518051" y="2506467"/>
            <a:ext cx="4001493" cy="3077766"/>
          </a:xfrm>
          <a:prstGeom prst="rect">
            <a:avLst/>
          </a:prstGeom>
          <a:ln>
            <a:noFill/>
          </a:ln>
        </p:spPr>
        <p:txBody>
          <a:bodyPr wrap="square">
            <a:spAutoFit/>
          </a:bodyPr>
          <a:lstStyle/>
          <a:p>
            <a:pPr marL="0" lvl="2">
              <a:spcBef>
                <a:spcPts val="600"/>
              </a:spcBef>
              <a:buSzPct val="100000"/>
            </a:pPr>
            <a:r>
              <a:rPr lang="es-CO" altLang="ja-JP" sz="1050" b="1" dirty="0">
                <a:solidFill>
                  <a:schemeClr val="accent4">
                    <a:lumMod val="60000"/>
                    <a:lumOff val="40000"/>
                  </a:schemeClr>
                </a:solidFill>
              </a:rPr>
              <a:t>¿Cómo?</a:t>
            </a:r>
          </a:p>
          <a:p>
            <a:r>
              <a:rPr lang="es-ES" sz="1050" dirty="0"/>
              <a:t>La transmisión de publicidad así como los créditos por patrocinios, auspicios y apoyos se sujetará para las emisoras comunitarias a los siguientes criterios:</a:t>
            </a:r>
          </a:p>
          <a:p>
            <a:endParaRPr lang="es-ES" sz="1050" dirty="0"/>
          </a:p>
          <a:p>
            <a:pPr marL="171450" indent="-171450">
              <a:buFont typeface="Arial" panose="020B0604020202020204" pitchFamily="34" charset="0"/>
              <a:buChar char="•"/>
            </a:pPr>
            <a:r>
              <a:rPr lang="es-ES" sz="1050" b="1" dirty="0"/>
              <a:t>Para municipios con menos de 100.000 habitantes</a:t>
            </a:r>
            <a:r>
              <a:rPr lang="es-ES" sz="1050" dirty="0"/>
              <a:t>, de acuerdo con la información del DANE, no podrá sobrepasar de quince (15) minutos por cada hora de transmisión de la estación.</a:t>
            </a:r>
          </a:p>
          <a:p>
            <a:pPr marL="171450" indent="-171450">
              <a:buFont typeface="Arial" panose="020B0604020202020204" pitchFamily="34" charset="0"/>
              <a:buChar char="•"/>
            </a:pPr>
            <a:endParaRPr lang="es-ES" sz="500" dirty="0"/>
          </a:p>
          <a:p>
            <a:pPr marL="171450" indent="-171450">
              <a:buFont typeface="Arial" panose="020B0604020202020204" pitchFamily="34" charset="0"/>
              <a:buChar char="•"/>
            </a:pPr>
            <a:r>
              <a:rPr lang="es-ES" sz="1050" b="1" dirty="0"/>
              <a:t>Para municipios entre 100.000 y 500.000 habitantes</a:t>
            </a:r>
            <a:r>
              <a:rPr lang="es-ES" sz="1050" dirty="0"/>
              <a:t>, de acuerdo con la información del DANE, no podrá sobrepasar de diez (10) minutos por cada hora de transmisión de la estación.</a:t>
            </a:r>
          </a:p>
          <a:p>
            <a:pPr marL="171450" indent="-171450">
              <a:buFont typeface="Arial" panose="020B0604020202020204" pitchFamily="34" charset="0"/>
              <a:buChar char="•"/>
            </a:pPr>
            <a:endParaRPr lang="es-ES" sz="500" dirty="0"/>
          </a:p>
          <a:p>
            <a:pPr marL="171450" indent="-171450">
              <a:buFont typeface="Arial" panose="020B0604020202020204" pitchFamily="34" charset="0"/>
              <a:buChar char="•"/>
            </a:pPr>
            <a:r>
              <a:rPr lang="es-ES" sz="1050" b="1" dirty="0"/>
              <a:t>Para municipios o distritos con más de 500.000 habitantes</a:t>
            </a:r>
            <a:r>
              <a:rPr lang="es-ES" sz="1050" dirty="0"/>
              <a:t>, de acuerdo con la información del DANE, no podrá sobrepasar de siete (7) minutos por cada hora de transmisión de la estación.</a:t>
            </a:r>
          </a:p>
        </p:txBody>
      </p:sp>
      <p:sp>
        <p:nvSpPr>
          <p:cNvPr id="17" name="Rectangle 16"/>
          <p:cNvSpPr/>
          <p:nvPr/>
        </p:nvSpPr>
        <p:spPr>
          <a:xfrm>
            <a:off x="1513286" y="366704"/>
            <a:ext cx="6141492" cy="892552"/>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Adaptar la publicidad y pauta comercial </a:t>
            </a:r>
            <a:r>
              <a:rPr lang="es-CO" sz="2000" b="1" dirty="0">
                <a:ea typeface="Open Sans" panose="020B0606030504020204" pitchFamily="34" charset="0"/>
                <a:cs typeface="Open Sans" panose="020B0606030504020204" pitchFamily="34" charset="0"/>
              </a:rPr>
              <a:t> a la orientación de la programación</a:t>
            </a:r>
            <a:endParaRPr lang="es-ES" sz="2000" b="1" dirty="0">
              <a:ea typeface="Open Sans" panose="020B0606030504020204" pitchFamily="34" charset="0"/>
              <a:cs typeface="Open Sans" panose="020B0606030504020204" pitchFamily="34" charset="0"/>
            </a:endParaRPr>
          </a:p>
          <a:p>
            <a:pPr algn="ctr">
              <a:spcBef>
                <a:spcPct val="0"/>
              </a:spcBef>
            </a:pPr>
            <a:r>
              <a:rPr lang="es-CO" sz="1200" b="1" dirty="0">
                <a:ea typeface="Open Sans" panose="020B0606030504020204" pitchFamily="34" charset="0"/>
                <a:cs typeface="Open Sans" panose="020B0606030504020204" pitchFamily="34" charset="0"/>
              </a:rPr>
              <a:t>Concesionarios Comunitarios</a:t>
            </a:r>
          </a:p>
        </p:txBody>
      </p:sp>
      <p:sp>
        <p:nvSpPr>
          <p:cNvPr id="18" name="TextBox 17"/>
          <p:cNvSpPr txBox="1"/>
          <p:nvPr/>
        </p:nvSpPr>
        <p:spPr>
          <a:xfrm>
            <a:off x="2115338" y="1471510"/>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20" name="TextBox 19"/>
          <p:cNvSpPr txBox="1"/>
          <p:nvPr/>
        </p:nvSpPr>
        <p:spPr>
          <a:xfrm>
            <a:off x="6205285" y="1427964"/>
            <a:ext cx="385737" cy="688256"/>
          </a:xfrm>
          <a:prstGeom prst="rect">
            <a:avLst/>
          </a:prstGeom>
          <a:noFill/>
        </p:spPr>
        <p:txBody>
          <a:bodyPr wrap="square" lIns="36000" tIns="36000" rIns="36000" bIns="36000" rtlCol="0">
            <a:spAutoFit/>
          </a:bodyPr>
          <a:lstStyle/>
          <a:p>
            <a:r>
              <a:rPr lang="en-US" sz="4000" b="1" dirty="0">
                <a:solidFill>
                  <a:schemeClr val="accent4">
                    <a:lumMod val="60000"/>
                    <a:lumOff val="40000"/>
                  </a:schemeClr>
                </a:solidFill>
              </a:rPr>
              <a:t>2</a:t>
            </a:r>
          </a:p>
        </p:txBody>
      </p:sp>
      <p:sp>
        <p:nvSpPr>
          <p:cNvPr id="8" name="Rectangle 7"/>
          <p:cNvSpPr/>
          <p:nvPr/>
        </p:nvSpPr>
        <p:spPr>
          <a:xfrm>
            <a:off x="1298154" y="2028961"/>
            <a:ext cx="2020105" cy="261610"/>
          </a:xfrm>
          <a:prstGeom prst="rect">
            <a:avLst/>
          </a:prstGeom>
        </p:spPr>
        <p:txBody>
          <a:bodyPr wrap="none">
            <a:spAutoFit/>
          </a:bodyPr>
          <a:lstStyle/>
          <a:p>
            <a:pPr marL="0" lvl="2" algn="ctr">
              <a:spcBef>
                <a:spcPts val="600"/>
              </a:spcBef>
              <a:buSzPct val="100000"/>
            </a:pPr>
            <a:r>
              <a:rPr lang="es-CO" sz="1100" b="1" dirty="0">
                <a:solidFill>
                  <a:schemeClr val="accent4"/>
                </a:solidFill>
              </a:rPr>
              <a:t>PUBLICIDAD POLÍTICA</a:t>
            </a:r>
          </a:p>
        </p:txBody>
      </p:sp>
      <p:sp>
        <p:nvSpPr>
          <p:cNvPr id="10" name="Rectangle 9"/>
          <p:cNvSpPr/>
          <p:nvPr/>
        </p:nvSpPr>
        <p:spPr>
          <a:xfrm>
            <a:off x="4791784" y="2005184"/>
            <a:ext cx="3212739" cy="261610"/>
          </a:xfrm>
          <a:prstGeom prst="rect">
            <a:avLst/>
          </a:prstGeom>
        </p:spPr>
        <p:txBody>
          <a:bodyPr wrap="none">
            <a:spAutoFit/>
          </a:bodyPr>
          <a:lstStyle/>
          <a:p>
            <a:pPr marL="0" lvl="2" algn="ctr">
              <a:spcBef>
                <a:spcPts val="600"/>
              </a:spcBef>
              <a:buSzPct val="100000"/>
            </a:pPr>
            <a:r>
              <a:rPr lang="es-CO" sz="1100" b="1" dirty="0">
                <a:solidFill>
                  <a:schemeClr val="accent4">
                    <a:lumMod val="60000"/>
                    <a:lumOff val="40000"/>
                  </a:schemeClr>
                </a:solidFill>
              </a:rPr>
              <a:t>LIMITES DE TIEMPOS DE PUBLICIDAD</a:t>
            </a:r>
          </a:p>
        </p:txBody>
      </p:sp>
      <p:sp>
        <p:nvSpPr>
          <p:cNvPr id="25" name="Diagonal Stripe 24"/>
          <p:cNvSpPr/>
          <p:nvPr/>
        </p:nvSpPr>
        <p:spPr>
          <a:xfrm>
            <a:off x="554372" y="2662603"/>
            <a:ext cx="288000" cy="288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560735" y="2343623"/>
            <a:ext cx="288000" cy="288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7" name="Diagonal Stripe 26"/>
          <p:cNvSpPr/>
          <p:nvPr/>
        </p:nvSpPr>
        <p:spPr>
          <a:xfrm>
            <a:off x="4082135" y="2662603"/>
            <a:ext cx="288000" cy="288000"/>
          </a:xfrm>
          <a:prstGeom prst="diagStripe">
            <a:avLst/>
          </a:prstGeom>
          <a:solidFill>
            <a:srgbClr val="0055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8" name="Diagonal Stripe 27"/>
          <p:cNvSpPr/>
          <p:nvPr/>
        </p:nvSpPr>
        <p:spPr>
          <a:xfrm flipV="1">
            <a:off x="4082135" y="2342695"/>
            <a:ext cx="288000" cy="288000"/>
          </a:xfrm>
          <a:prstGeom prst="diagStripe">
            <a:avLst/>
          </a:pr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Rectangle 31"/>
          <p:cNvSpPr/>
          <p:nvPr/>
        </p:nvSpPr>
        <p:spPr>
          <a:xfrm>
            <a:off x="4518051" y="5529977"/>
            <a:ext cx="2150518" cy="507831"/>
          </a:xfrm>
          <a:prstGeom prst="rect">
            <a:avLst/>
          </a:prstGeom>
          <a:ln>
            <a:noFill/>
          </a:ln>
        </p:spPr>
        <p:txBody>
          <a:bodyPr wrap="square">
            <a:spAutoFit/>
          </a:bodyPr>
          <a:lstStyle/>
          <a:p>
            <a:pPr marL="0" lvl="2">
              <a:spcBef>
                <a:spcPts val="600"/>
              </a:spcBef>
              <a:buSzPct val="100000"/>
            </a:pPr>
            <a:r>
              <a:rPr lang="es-CO" altLang="ja-JP" sz="1050" b="1" dirty="0">
                <a:solidFill>
                  <a:schemeClr val="tx1">
                    <a:lumMod val="85000"/>
                    <a:lumOff val="15000"/>
                  </a:schemeClr>
                </a:solidFill>
                <a:ea typeface="ＭＳ Ｐゴシック" pitchFamily="50" charset="-128"/>
              </a:rPr>
              <a:t>¿Cuándo?</a:t>
            </a:r>
            <a:endParaRPr lang="en-US" altLang="ja-JP" sz="1050" b="1" dirty="0">
              <a:solidFill>
                <a:schemeClr val="tx1">
                  <a:lumMod val="85000"/>
                  <a:lumOff val="15000"/>
                </a:schemeClr>
              </a:solidFill>
              <a:ea typeface="ＭＳ Ｐゴシック" pitchFamily="50" charset="-128"/>
            </a:endParaRPr>
          </a:p>
          <a:p>
            <a:pPr marL="0" lvl="2">
              <a:spcBef>
                <a:spcPts val="600"/>
              </a:spcBef>
              <a:buSzPct val="100000"/>
            </a:pPr>
            <a:r>
              <a:rPr lang="es-ES" sz="1050" dirty="0"/>
              <a:t>Permanente.</a:t>
            </a:r>
          </a:p>
        </p:txBody>
      </p:sp>
      <p:sp>
        <p:nvSpPr>
          <p:cNvPr id="33" name="Diagonal Stripe 32"/>
          <p:cNvSpPr/>
          <p:nvPr/>
        </p:nvSpPr>
        <p:spPr>
          <a:xfrm>
            <a:off x="4080704" y="5682541"/>
            <a:ext cx="288000" cy="288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Diagonal Stripe 33"/>
          <p:cNvSpPr/>
          <p:nvPr/>
        </p:nvSpPr>
        <p:spPr>
          <a:xfrm flipV="1">
            <a:off x="4080704" y="5362633"/>
            <a:ext cx="288000" cy="288000"/>
          </a:xfrm>
          <a:prstGeom prst="diagStripe">
            <a:avLst/>
          </a:prstGeom>
          <a:solidFill>
            <a:schemeClr val="tx1">
              <a:lumMod val="85000"/>
              <a:lumOff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832561" y="5529977"/>
            <a:ext cx="2771876" cy="1092607"/>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ES" sz="1050" dirty="0"/>
              <a:t>Permanente.</a:t>
            </a:r>
          </a:p>
          <a:p>
            <a:pPr marL="0" lvl="2">
              <a:spcBef>
                <a:spcPts val="600"/>
              </a:spcBef>
              <a:buSzPct val="100000"/>
            </a:pPr>
            <a:r>
              <a:rPr lang="es-ES" sz="1050" dirty="0"/>
              <a:t>Nota: Exceptuando las elecciones presidenciales, previo concepto del Consejo Nacional Electoral.</a:t>
            </a:r>
          </a:p>
        </p:txBody>
      </p:sp>
      <p:sp>
        <p:nvSpPr>
          <p:cNvPr id="37" name="Diagonal Stripe 36"/>
          <p:cNvSpPr/>
          <p:nvPr/>
        </p:nvSpPr>
        <p:spPr>
          <a:xfrm>
            <a:off x="554372" y="5681613"/>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560735" y="5362633"/>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sp>
        <p:nvSpPr>
          <p:cNvPr id="2" name="Right Arrow 1">
            <a:hlinkClick r:id="rId3" action="ppaction://hlinksldjump"/>
          </p:cNvPr>
          <p:cNvSpPr/>
          <p:nvPr/>
        </p:nvSpPr>
        <p:spPr bwMode="gray">
          <a:xfrm>
            <a:off x="8567672" y="5902582"/>
            <a:ext cx="359478" cy="318980"/>
          </a:xfrm>
          <a:prstGeom prst="rightArrow">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9" name="Picture 28"/>
          <p:cNvPicPr>
            <a:picLocks noChangeAspect="1"/>
          </p:cNvPicPr>
          <p:nvPr/>
        </p:nvPicPr>
        <p:blipFill>
          <a:blip r:embed="rId4"/>
          <a:stretch>
            <a:fillRect/>
          </a:stretch>
        </p:blipFill>
        <p:spPr>
          <a:xfrm>
            <a:off x="7372057" y="-44966"/>
            <a:ext cx="2030144" cy="1304657"/>
          </a:xfrm>
          <a:prstGeom prst="rect">
            <a:avLst/>
          </a:prstGeom>
        </p:spPr>
      </p:pic>
      <p:sp>
        <p:nvSpPr>
          <p:cNvPr id="30" name="Freeform 770"/>
          <p:cNvSpPr>
            <a:spLocks noEditPoints="1"/>
          </p:cNvSpPr>
          <p:nvPr/>
        </p:nvSpPr>
        <p:spPr bwMode="auto">
          <a:xfrm>
            <a:off x="8170488" y="365312"/>
            <a:ext cx="468000" cy="540000"/>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0748589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416832" y="2707922"/>
            <a:ext cx="2232000" cy="1623521"/>
          </a:xfrm>
          <a:prstGeom prst="rect">
            <a:avLst/>
          </a:prstGeom>
          <a:ln>
            <a:noFill/>
          </a:ln>
        </p:spPr>
        <p:txBody>
          <a:bodyPr wrap="square">
            <a:spAutoFit/>
          </a:bodyPr>
          <a:lstStyle/>
          <a:p>
            <a:pPr marL="0" lvl="2">
              <a:spcBef>
                <a:spcPts val="600"/>
              </a:spcBef>
              <a:buSzPct val="100000"/>
            </a:pPr>
            <a:r>
              <a:rPr lang="es-CO" altLang="ja-JP" sz="1050" b="1" dirty="0">
                <a:solidFill>
                  <a:schemeClr val="accent4"/>
                </a:solidFill>
              </a:rPr>
              <a:t>¿Cómo?</a:t>
            </a:r>
            <a:endParaRPr lang="es-CO" altLang="ja-JP" sz="1050" b="1" dirty="0">
              <a:solidFill>
                <a:schemeClr val="accent4"/>
              </a:solidFill>
              <a:ea typeface="ＭＳ Ｐゴシック" pitchFamily="50" charset="-128"/>
            </a:endParaRPr>
          </a:p>
          <a:p>
            <a:pPr marL="0" lvl="2">
              <a:spcBef>
                <a:spcPts val="600"/>
              </a:spcBef>
              <a:buSzPct val="100000"/>
            </a:pPr>
            <a:r>
              <a:rPr lang="es-ES" sz="1050" dirty="0"/>
              <a:t>A través del Servicio de Radiodifusión Sonora de Interés Público, </a:t>
            </a:r>
            <a:r>
              <a:rPr lang="es-ES" sz="1050" b="1" dirty="0"/>
              <a:t>NO</a:t>
            </a:r>
            <a:r>
              <a:rPr lang="es-ES" sz="1050" dirty="0"/>
              <a:t> podrá transmitirse ningún tipo de programa con fines proselitistas, emitir publicidad o propaganda política.</a:t>
            </a:r>
            <a:endParaRPr lang="es-ES" sz="1050" i="1" dirty="0"/>
          </a:p>
        </p:txBody>
      </p:sp>
      <p:sp>
        <p:nvSpPr>
          <p:cNvPr id="16" name="Rectangle 15"/>
          <p:cNvSpPr/>
          <p:nvPr/>
        </p:nvSpPr>
        <p:spPr>
          <a:xfrm>
            <a:off x="4844395" y="2751468"/>
            <a:ext cx="3216763" cy="2516073"/>
          </a:xfrm>
          <a:prstGeom prst="rect">
            <a:avLst/>
          </a:prstGeom>
          <a:ln>
            <a:noFill/>
          </a:ln>
        </p:spPr>
        <p:txBody>
          <a:bodyPr wrap="square">
            <a:spAutoFit/>
          </a:bodyPr>
          <a:lstStyle/>
          <a:p>
            <a:pPr marL="0" lvl="2">
              <a:spcBef>
                <a:spcPts val="600"/>
              </a:spcBef>
              <a:buSzPct val="100000"/>
            </a:pPr>
            <a:r>
              <a:rPr lang="es-CO" altLang="ja-JP" sz="1050" b="1" dirty="0">
                <a:solidFill>
                  <a:schemeClr val="accent1">
                    <a:lumMod val="75000"/>
                  </a:schemeClr>
                </a:solidFill>
              </a:rPr>
              <a:t>¿Cómo?</a:t>
            </a:r>
          </a:p>
          <a:p>
            <a:r>
              <a:rPr lang="es-ES" sz="1050" dirty="0"/>
              <a:t>Por los servicios de radiodifusión sonora de interés público prestados en gestión directa no se podrá transmitir pauta comercial, salvo los patrocinios definidos por la Ley 1341 de 2009.</a:t>
            </a:r>
          </a:p>
          <a:p>
            <a:endParaRPr lang="es-ES" sz="1050" dirty="0"/>
          </a:p>
          <a:p>
            <a:r>
              <a:rPr lang="es-ES" sz="1050" dirty="0"/>
              <a:t>Se entiende por patrocinio el reconocimiento, sin lema o agregado alguno, a la contribución en dinero u otros recursos en favor de las emisoras de interés público que se efectúen para la transmisión de un programa específico, el cual no podrá ser superior a cinco (5) minutos por hora del programa beneficiado.</a:t>
            </a:r>
          </a:p>
        </p:txBody>
      </p:sp>
      <p:sp>
        <p:nvSpPr>
          <p:cNvPr id="18" name="TextBox 17"/>
          <p:cNvSpPr txBox="1"/>
          <p:nvPr/>
        </p:nvSpPr>
        <p:spPr>
          <a:xfrm>
            <a:off x="2272013" y="1672965"/>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20" name="TextBox 19"/>
          <p:cNvSpPr txBox="1"/>
          <p:nvPr/>
        </p:nvSpPr>
        <p:spPr>
          <a:xfrm>
            <a:off x="6231001" y="1672965"/>
            <a:ext cx="385737" cy="688256"/>
          </a:xfrm>
          <a:prstGeom prst="rect">
            <a:avLst/>
          </a:prstGeom>
          <a:noFill/>
        </p:spPr>
        <p:txBody>
          <a:bodyPr wrap="square" lIns="36000" tIns="36000" rIns="36000" bIns="36000" rtlCol="0">
            <a:spAutoFit/>
          </a:bodyPr>
          <a:lstStyle/>
          <a:p>
            <a:r>
              <a:rPr lang="en-US" sz="4000" b="1" dirty="0">
                <a:solidFill>
                  <a:schemeClr val="accent1">
                    <a:lumMod val="75000"/>
                  </a:schemeClr>
                </a:solidFill>
              </a:rPr>
              <a:t>2</a:t>
            </a:r>
          </a:p>
        </p:txBody>
      </p:sp>
      <p:sp>
        <p:nvSpPr>
          <p:cNvPr id="8" name="Rectangle 7"/>
          <p:cNvSpPr/>
          <p:nvPr/>
        </p:nvSpPr>
        <p:spPr>
          <a:xfrm>
            <a:off x="1454833" y="2230416"/>
            <a:ext cx="2020105" cy="261610"/>
          </a:xfrm>
          <a:prstGeom prst="rect">
            <a:avLst/>
          </a:prstGeom>
        </p:spPr>
        <p:txBody>
          <a:bodyPr wrap="none">
            <a:spAutoFit/>
          </a:bodyPr>
          <a:lstStyle/>
          <a:p>
            <a:pPr marL="0" lvl="2" algn="ctr">
              <a:spcBef>
                <a:spcPts val="600"/>
              </a:spcBef>
              <a:buSzPct val="100000"/>
            </a:pPr>
            <a:r>
              <a:rPr lang="es-CO" sz="1100" b="1" dirty="0">
                <a:solidFill>
                  <a:schemeClr val="accent4"/>
                </a:solidFill>
              </a:rPr>
              <a:t>PUBLICIDAD POLÍTICA</a:t>
            </a:r>
          </a:p>
        </p:txBody>
      </p:sp>
      <p:sp>
        <p:nvSpPr>
          <p:cNvPr id="10" name="Rectangle 9"/>
          <p:cNvSpPr/>
          <p:nvPr/>
        </p:nvSpPr>
        <p:spPr>
          <a:xfrm>
            <a:off x="5571716" y="2250185"/>
            <a:ext cx="1704314" cy="261610"/>
          </a:xfrm>
          <a:prstGeom prst="rect">
            <a:avLst/>
          </a:prstGeom>
        </p:spPr>
        <p:txBody>
          <a:bodyPr wrap="none">
            <a:spAutoFit/>
          </a:bodyPr>
          <a:lstStyle/>
          <a:p>
            <a:pPr marL="0" lvl="2" algn="ctr">
              <a:spcBef>
                <a:spcPts val="600"/>
              </a:spcBef>
              <a:buSzPct val="100000"/>
            </a:pPr>
            <a:r>
              <a:rPr lang="es-CO" sz="1100" b="1" dirty="0">
                <a:solidFill>
                  <a:schemeClr val="accent1">
                    <a:lumMod val="75000"/>
                  </a:schemeClr>
                </a:solidFill>
              </a:rPr>
              <a:t>PAUTA COMERCIAL</a:t>
            </a:r>
          </a:p>
        </p:txBody>
      </p:sp>
      <p:sp>
        <p:nvSpPr>
          <p:cNvPr id="25" name="Diagonal Stripe 24"/>
          <p:cNvSpPr/>
          <p:nvPr/>
        </p:nvSpPr>
        <p:spPr>
          <a:xfrm>
            <a:off x="1076785" y="2864058"/>
            <a:ext cx="288000" cy="2880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6" name="Diagonal Stripe 25"/>
          <p:cNvSpPr/>
          <p:nvPr/>
        </p:nvSpPr>
        <p:spPr>
          <a:xfrm flipV="1">
            <a:off x="1083148" y="2545078"/>
            <a:ext cx="288000" cy="2880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7" name="Diagonal Stripe 26"/>
          <p:cNvSpPr/>
          <p:nvPr/>
        </p:nvSpPr>
        <p:spPr>
          <a:xfrm>
            <a:off x="4529502" y="2907604"/>
            <a:ext cx="288000" cy="288000"/>
          </a:xfrm>
          <a:prstGeom prst="diagStrip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8" name="Diagonal Stripe 27"/>
          <p:cNvSpPr/>
          <p:nvPr/>
        </p:nvSpPr>
        <p:spPr>
          <a:xfrm flipV="1">
            <a:off x="4529502" y="2587696"/>
            <a:ext cx="288000" cy="288000"/>
          </a:xfrm>
          <a:prstGeom prst="diagStrip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Rectangle 31"/>
          <p:cNvSpPr/>
          <p:nvPr/>
        </p:nvSpPr>
        <p:spPr>
          <a:xfrm>
            <a:off x="4844395" y="5559141"/>
            <a:ext cx="3216764" cy="507831"/>
          </a:xfrm>
          <a:prstGeom prst="rect">
            <a:avLst/>
          </a:prstGeom>
          <a:ln>
            <a:noFill/>
          </a:ln>
        </p:spPr>
        <p:txBody>
          <a:bodyPr wrap="square">
            <a:spAutoFit/>
          </a:bodyPr>
          <a:lstStyle/>
          <a:p>
            <a:pPr marL="0" lvl="2">
              <a:spcBef>
                <a:spcPts val="600"/>
              </a:spcBef>
              <a:buSzPct val="100000"/>
            </a:pPr>
            <a:r>
              <a:rPr lang="es-CO" altLang="ja-JP" sz="1050" b="1" dirty="0">
                <a:solidFill>
                  <a:schemeClr val="tx1">
                    <a:lumMod val="85000"/>
                    <a:lumOff val="15000"/>
                  </a:schemeClr>
                </a:solidFill>
                <a:ea typeface="ＭＳ Ｐゴシック" pitchFamily="50" charset="-128"/>
              </a:rPr>
              <a:t>¿Cuándo?</a:t>
            </a:r>
            <a:endParaRPr lang="en-US" altLang="ja-JP" sz="1050" b="1" dirty="0">
              <a:solidFill>
                <a:schemeClr val="tx1">
                  <a:lumMod val="85000"/>
                  <a:lumOff val="15000"/>
                </a:schemeClr>
              </a:solidFill>
              <a:ea typeface="ＭＳ Ｐゴシック" pitchFamily="50" charset="-128"/>
            </a:endParaRPr>
          </a:p>
          <a:p>
            <a:pPr marL="0" lvl="2">
              <a:spcBef>
                <a:spcPts val="600"/>
              </a:spcBef>
              <a:buSzPct val="100000"/>
            </a:pPr>
            <a:r>
              <a:rPr lang="es-ES" sz="1050" dirty="0"/>
              <a:t>Permanente.</a:t>
            </a:r>
          </a:p>
        </p:txBody>
      </p:sp>
      <p:sp>
        <p:nvSpPr>
          <p:cNvPr id="33" name="Diagonal Stripe 32"/>
          <p:cNvSpPr/>
          <p:nvPr/>
        </p:nvSpPr>
        <p:spPr>
          <a:xfrm>
            <a:off x="4528071" y="5711705"/>
            <a:ext cx="288000" cy="288000"/>
          </a:xfrm>
          <a:prstGeom prst="diagStrip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4" name="Diagonal Stripe 33"/>
          <p:cNvSpPr/>
          <p:nvPr/>
        </p:nvSpPr>
        <p:spPr>
          <a:xfrm flipV="1">
            <a:off x="4528071" y="5391797"/>
            <a:ext cx="288000" cy="288000"/>
          </a:xfrm>
          <a:prstGeom prst="diagStripe">
            <a:avLst/>
          </a:prstGeom>
          <a:solidFill>
            <a:schemeClr val="tx1">
              <a:lumMod val="85000"/>
              <a:lumOff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1" name="Rectangle 20"/>
          <p:cNvSpPr/>
          <p:nvPr/>
        </p:nvSpPr>
        <p:spPr>
          <a:xfrm>
            <a:off x="1454833" y="5447400"/>
            <a:ext cx="2232000" cy="507831"/>
          </a:xfrm>
          <a:prstGeom prst="rect">
            <a:avLst/>
          </a:prstGeom>
        </p:spPr>
        <p:txBody>
          <a:bodyPr wrap="square">
            <a:spAutoFit/>
          </a:bodyPr>
          <a:lstStyle/>
          <a:p>
            <a:pPr marL="0" lvl="2">
              <a:spcBef>
                <a:spcPts val="600"/>
              </a:spcBef>
              <a:buSzPct val="100000"/>
            </a:pPr>
            <a:r>
              <a:rPr lang="es-CO" altLang="ja-JP" sz="1050" b="1" dirty="0">
                <a:solidFill>
                  <a:schemeClr val="bg2">
                    <a:lumMod val="25000"/>
                  </a:schemeClr>
                </a:solidFill>
                <a:ea typeface="ＭＳ Ｐゴシック" pitchFamily="50" charset="-128"/>
              </a:rPr>
              <a:t>¿Cuándo?</a:t>
            </a:r>
            <a:endParaRPr lang="en-US" altLang="ja-JP" sz="1050" b="1" dirty="0">
              <a:solidFill>
                <a:schemeClr val="bg2">
                  <a:lumMod val="25000"/>
                </a:schemeClr>
              </a:solidFill>
              <a:ea typeface="ＭＳ Ｐゴシック" pitchFamily="50" charset="-128"/>
            </a:endParaRPr>
          </a:p>
          <a:p>
            <a:pPr marL="0" lvl="2">
              <a:spcBef>
                <a:spcPts val="600"/>
              </a:spcBef>
              <a:buSzPct val="100000"/>
            </a:pPr>
            <a:r>
              <a:rPr lang="es-ES" sz="1050" dirty="0"/>
              <a:t>Permanente.</a:t>
            </a:r>
          </a:p>
        </p:txBody>
      </p:sp>
      <p:sp>
        <p:nvSpPr>
          <p:cNvPr id="37" name="Diagonal Stripe 36"/>
          <p:cNvSpPr/>
          <p:nvPr/>
        </p:nvSpPr>
        <p:spPr>
          <a:xfrm>
            <a:off x="1076785" y="5667231"/>
            <a:ext cx="288000" cy="288000"/>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8" name="Diagonal Stripe 37"/>
          <p:cNvSpPr/>
          <p:nvPr/>
        </p:nvSpPr>
        <p:spPr>
          <a:xfrm flipV="1">
            <a:off x="1083148" y="5348251"/>
            <a:ext cx="288000" cy="288000"/>
          </a:xfrm>
          <a:prstGeom prst="diagStripe">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9" name="Freeform 100">
            <a:hlinkClick r:id="rId2" action="ppaction://hlinksldjump"/>
          </p:cNvPr>
          <p:cNvSpPr>
            <a:spLocks noEditPoints="1"/>
          </p:cNvSpPr>
          <p:nvPr/>
        </p:nvSpPr>
        <p:spPr bwMode="auto">
          <a:xfrm>
            <a:off x="8567672" y="6289757"/>
            <a:ext cx="359478" cy="345469"/>
          </a:xfrm>
          <a:custGeom>
            <a:avLst/>
            <a:gdLst>
              <a:gd name="T0" fmla="*/ 0 w 634"/>
              <a:gd name="T1" fmla="*/ 317 h 634"/>
              <a:gd name="T2" fmla="*/ 317 w 634"/>
              <a:gd name="T3" fmla="*/ 634 h 634"/>
              <a:gd name="T4" fmla="*/ 634 w 634"/>
              <a:gd name="T5" fmla="*/ 317 h 634"/>
              <a:gd name="T6" fmla="*/ 317 w 634"/>
              <a:gd name="T7" fmla="*/ 0 h 634"/>
              <a:gd name="T8" fmla="*/ 0 w 634"/>
              <a:gd name="T9" fmla="*/ 317 h 634"/>
              <a:gd name="T10" fmla="*/ 66 w 634"/>
              <a:gd name="T11" fmla="*/ 317 h 634"/>
              <a:gd name="T12" fmla="*/ 73 w 634"/>
              <a:gd name="T13" fmla="*/ 258 h 634"/>
              <a:gd name="T14" fmla="*/ 132 w 634"/>
              <a:gd name="T15" fmla="*/ 317 h 634"/>
              <a:gd name="T16" fmla="*/ 119 w 634"/>
              <a:gd name="T17" fmla="*/ 396 h 634"/>
              <a:gd name="T18" fmla="*/ 172 w 634"/>
              <a:gd name="T19" fmla="*/ 449 h 634"/>
              <a:gd name="T20" fmla="*/ 172 w 634"/>
              <a:gd name="T21" fmla="*/ 522 h 634"/>
              <a:gd name="T22" fmla="*/ 66 w 634"/>
              <a:gd name="T23" fmla="*/ 317 h 634"/>
              <a:gd name="T24" fmla="*/ 259 w 634"/>
              <a:gd name="T25" fmla="*/ 72 h 634"/>
              <a:gd name="T26" fmla="*/ 317 w 634"/>
              <a:gd name="T27" fmla="*/ 66 h 634"/>
              <a:gd name="T28" fmla="*/ 381 w 634"/>
              <a:gd name="T29" fmla="*/ 74 h 634"/>
              <a:gd name="T30" fmla="*/ 370 w 634"/>
              <a:gd name="T31" fmla="*/ 92 h 634"/>
              <a:gd name="T32" fmla="*/ 383 w 634"/>
              <a:gd name="T33" fmla="*/ 105 h 634"/>
              <a:gd name="T34" fmla="*/ 423 w 634"/>
              <a:gd name="T35" fmla="*/ 105 h 634"/>
              <a:gd name="T36" fmla="*/ 434 w 634"/>
              <a:gd name="T37" fmla="*/ 94 h 634"/>
              <a:gd name="T38" fmla="*/ 460 w 634"/>
              <a:gd name="T39" fmla="*/ 111 h 634"/>
              <a:gd name="T40" fmla="*/ 436 w 634"/>
              <a:gd name="T41" fmla="*/ 119 h 634"/>
              <a:gd name="T42" fmla="*/ 410 w 634"/>
              <a:gd name="T43" fmla="*/ 145 h 634"/>
              <a:gd name="T44" fmla="*/ 436 w 634"/>
              <a:gd name="T45" fmla="*/ 158 h 634"/>
              <a:gd name="T46" fmla="*/ 436 w 634"/>
              <a:gd name="T47" fmla="*/ 171 h 634"/>
              <a:gd name="T48" fmla="*/ 410 w 634"/>
              <a:gd name="T49" fmla="*/ 171 h 634"/>
              <a:gd name="T50" fmla="*/ 410 w 634"/>
              <a:gd name="T51" fmla="*/ 198 h 634"/>
              <a:gd name="T52" fmla="*/ 449 w 634"/>
              <a:gd name="T53" fmla="*/ 211 h 634"/>
              <a:gd name="T54" fmla="*/ 476 w 634"/>
              <a:gd name="T55" fmla="*/ 171 h 634"/>
              <a:gd name="T56" fmla="*/ 509 w 634"/>
              <a:gd name="T57" fmla="*/ 163 h 634"/>
              <a:gd name="T58" fmla="*/ 517 w 634"/>
              <a:gd name="T59" fmla="*/ 165 h 634"/>
              <a:gd name="T60" fmla="*/ 555 w 634"/>
              <a:gd name="T61" fmla="*/ 236 h 634"/>
              <a:gd name="T62" fmla="*/ 555 w 634"/>
              <a:gd name="T63" fmla="*/ 238 h 634"/>
              <a:gd name="T64" fmla="*/ 502 w 634"/>
              <a:gd name="T65" fmla="*/ 224 h 634"/>
              <a:gd name="T66" fmla="*/ 436 w 634"/>
              <a:gd name="T67" fmla="*/ 238 h 634"/>
              <a:gd name="T68" fmla="*/ 397 w 634"/>
              <a:gd name="T69" fmla="*/ 277 h 634"/>
              <a:gd name="T70" fmla="*/ 410 w 634"/>
              <a:gd name="T71" fmla="*/ 343 h 634"/>
              <a:gd name="T72" fmla="*/ 476 w 634"/>
              <a:gd name="T73" fmla="*/ 383 h 634"/>
              <a:gd name="T74" fmla="*/ 476 w 634"/>
              <a:gd name="T75" fmla="*/ 512 h 634"/>
              <a:gd name="T76" fmla="*/ 317 w 634"/>
              <a:gd name="T77" fmla="*/ 568 h 634"/>
              <a:gd name="T78" fmla="*/ 236 w 634"/>
              <a:gd name="T79" fmla="*/ 555 h 634"/>
              <a:gd name="T80" fmla="*/ 304 w 634"/>
              <a:gd name="T81" fmla="*/ 396 h 634"/>
              <a:gd name="T82" fmla="*/ 291 w 634"/>
              <a:gd name="T83" fmla="*/ 330 h 634"/>
              <a:gd name="T84" fmla="*/ 211 w 634"/>
              <a:gd name="T85" fmla="*/ 264 h 634"/>
              <a:gd name="T86" fmla="*/ 172 w 634"/>
              <a:gd name="T87" fmla="*/ 304 h 634"/>
              <a:gd name="T88" fmla="*/ 145 w 634"/>
              <a:gd name="T89" fmla="*/ 251 h 634"/>
              <a:gd name="T90" fmla="*/ 225 w 634"/>
              <a:gd name="T91" fmla="*/ 198 h 634"/>
              <a:gd name="T92" fmla="*/ 264 w 634"/>
              <a:gd name="T93" fmla="*/ 92 h 634"/>
              <a:gd name="T94" fmla="*/ 259 w 634"/>
              <a:gd name="T95" fmla="*/ 7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4" h="634">
                <a:moveTo>
                  <a:pt x="0" y="317"/>
                </a:moveTo>
                <a:cubicBezTo>
                  <a:pt x="0" y="492"/>
                  <a:pt x="142" y="634"/>
                  <a:pt x="317" y="634"/>
                </a:cubicBezTo>
                <a:cubicBezTo>
                  <a:pt x="492" y="634"/>
                  <a:pt x="634" y="492"/>
                  <a:pt x="634" y="317"/>
                </a:cubicBezTo>
                <a:cubicBezTo>
                  <a:pt x="634" y="142"/>
                  <a:pt x="492" y="0"/>
                  <a:pt x="317" y="0"/>
                </a:cubicBezTo>
                <a:cubicBezTo>
                  <a:pt x="142" y="0"/>
                  <a:pt x="0" y="142"/>
                  <a:pt x="0" y="317"/>
                </a:cubicBezTo>
                <a:close/>
                <a:moveTo>
                  <a:pt x="66" y="317"/>
                </a:moveTo>
                <a:cubicBezTo>
                  <a:pt x="66" y="297"/>
                  <a:pt x="68" y="277"/>
                  <a:pt x="73" y="258"/>
                </a:cubicBezTo>
                <a:cubicBezTo>
                  <a:pt x="132" y="317"/>
                  <a:pt x="132" y="317"/>
                  <a:pt x="132" y="317"/>
                </a:cubicBezTo>
                <a:cubicBezTo>
                  <a:pt x="119" y="396"/>
                  <a:pt x="119" y="396"/>
                  <a:pt x="119" y="396"/>
                </a:cubicBezTo>
                <a:cubicBezTo>
                  <a:pt x="172" y="449"/>
                  <a:pt x="172" y="449"/>
                  <a:pt x="172" y="449"/>
                </a:cubicBezTo>
                <a:cubicBezTo>
                  <a:pt x="172" y="522"/>
                  <a:pt x="172" y="522"/>
                  <a:pt x="172" y="522"/>
                </a:cubicBezTo>
                <a:cubicBezTo>
                  <a:pt x="108" y="476"/>
                  <a:pt x="66" y="401"/>
                  <a:pt x="66" y="317"/>
                </a:cubicBezTo>
                <a:close/>
                <a:moveTo>
                  <a:pt x="259" y="72"/>
                </a:moveTo>
                <a:cubicBezTo>
                  <a:pt x="278" y="68"/>
                  <a:pt x="297" y="66"/>
                  <a:pt x="317" y="66"/>
                </a:cubicBezTo>
                <a:cubicBezTo>
                  <a:pt x="339" y="66"/>
                  <a:pt x="361" y="69"/>
                  <a:pt x="381" y="74"/>
                </a:cubicBezTo>
                <a:cubicBezTo>
                  <a:pt x="370" y="92"/>
                  <a:pt x="370" y="92"/>
                  <a:pt x="370" y="92"/>
                </a:cubicBezTo>
                <a:cubicBezTo>
                  <a:pt x="383" y="105"/>
                  <a:pt x="383" y="105"/>
                  <a:pt x="383" y="105"/>
                </a:cubicBezTo>
                <a:cubicBezTo>
                  <a:pt x="423" y="105"/>
                  <a:pt x="423" y="105"/>
                  <a:pt x="423" y="105"/>
                </a:cubicBezTo>
                <a:cubicBezTo>
                  <a:pt x="434" y="94"/>
                  <a:pt x="434" y="94"/>
                  <a:pt x="434" y="94"/>
                </a:cubicBezTo>
                <a:cubicBezTo>
                  <a:pt x="443" y="99"/>
                  <a:pt x="452" y="105"/>
                  <a:pt x="460" y="111"/>
                </a:cubicBezTo>
                <a:cubicBezTo>
                  <a:pt x="436" y="119"/>
                  <a:pt x="436" y="119"/>
                  <a:pt x="436" y="119"/>
                </a:cubicBezTo>
                <a:cubicBezTo>
                  <a:pt x="410" y="145"/>
                  <a:pt x="410" y="145"/>
                  <a:pt x="410" y="145"/>
                </a:cubicBezTo>
                <a:cubicBezTo>
                  <a:pt x="436" y="158"/>
                  <a:pt x="436" y="158"/>
                  <a:pt x="436" y="158"/>
                </a:cubicBezTo>
                <a:cubicBezTo>
                  <a:pt x="436" y="171"/>
                  <a:pt x="436" y="171"/>
                  <a:pt x="436" y="171"/>
                </a:cubicBezTo>
                <a:cubicBezTo>
                  <a:pt x="410" y="171"/>
                  <a:pt x="410" y="171"/>
                  <a:pt x="410" y="171"/>
                </a:cubicBezTo>
                <a:cubicBezTo>
                  <a:pt x="410" y="198"/>
                  <a:pt x="410" y="198"/>
                  <a:pt x="410" y="198"/>
                </a:cubicBezTo>
                <a:cubicBezTo>
                  <a:pt x="410" y="198"/>
                  <a:pt x="428" y="211"/>
                  <a:pt x="449" y="211"/>
                </a:cubicBezTo>
                <a:cubicBezTo>
                  <a:pt x="470" y="211"/>
                  <a:pt x="461" y="182"/>
                  <a:pt x="476" y="171"/>
                </a:cubicBezTo>
                <a:cubicBezTo>
                  <a:pt x="491" y="161"/>
                  <a:pt x="509" y="163"/>
                  <a:pt x="509" y="163"/>
                </a:cubicBezTo>
                <a:cubicBezTo>
                  <a:pt x="517" y="165"/>
                  <a:pt x="517" y="165"/>
                  <a:pt x="517" y="165"/>
                </a:cubicBezTo>
                <a:cubicBezTo>
                  <a:pt x="534" y="187"/>
                  <a:pt x="546" y="210"/>
                  <a:pt x="555" y="236"/>
                </a:cubicBezTo>
                <a:cubicBezTo>
                  <a:pt x="555" y="238"/>
                  <a:pt x="555" y="238"/>
                  <a:pt x="555" y="238"/>
                </a:cubicBezTo>
                <a:cubicBezTo>
                  <a:pt x="555" y="238"/>
                  <a:pt x="536" y="224"/>
                  <a:pt x="502" y="224"/>
                </a:cubicBezTo>
                <a:cubicBezTo>
                  <a:pt x="468" y="224"/>
                  <a:pt x="436" y="238"/>
                  <a:pt x="436" y="238"/>
                </a:cubicBezTo>
                <a:cubicBezTo>
                  <a:pt x="436" y="238"/>
                  <a:pt x="399" y="248"/>
                  <a:pt x="397" y="277"/>
                </a:cubicBezTo>
                <a:cubicBezTo>
                  <a:pt x="392" y="327"/>
                  <a:pt x="410" y="343"/>
                  <a:pt x="410" y="343"/>
                </a:cubicBezTo>
                <a:cubicBezTo>
                  <a:pt x="476" y="383"/>
                  <a:pt x="476" y="383"/>
                  <a:pt x="476" y="383"/>
                </a:cubicBezTo>
                <a:cubicBezTo>
                  <a:pt x="476" y="512"/>
                  <a:pt x="476" y="512"/>
                  <a:pt x="476" y="512"/>
                </a:cubicBezTo>
                <a:cubicBezTo>
                  <a:pt x="433" y="547"/>
                  <a:pt x="377" y="568"/>
                  <a:pt x="317" y="568"/>
                </a:cubicBezTo>
                <a:cubicBezTo>
                  <a:pt x="289" y="568"/>
                  <a:pt x="262" y="563"/>
                  <a:pt x="236" y="555"/>
                </a:cubicBezTo>
                <a:cubicBezTo>
                  <a:pt x="304" y="396"/>
                  <a:pt x="304" y="396"/>
                  <a:pt x="304" y="396"/>
                </a:cubicBezTo>
                <a:cubicBezTo>
                  <a:pt x="291" y="330"/>
                  <a:pt x="291" y="330"/>
                  <a:pt x="291" y="330"/>
                </a:cubicBezTo>
                <a:cubicBezTo>
                  <a:pt x="291" y="330"/>
                  <a:pt x="238" y="264"/>
                  <a:pt x="211" y="264"/>
                </a:cubicBezTo>
                <a:cubicBezTo>
                  <a:pt x="185" y="264"/>
                  <a:pt x="172" y="304"/>
                  <a:pt x="172" y="304"/>
                </a:cubicBezTo>
                <a:cubicBezTo>
                  <a:pt x="145" y="251"/>
                  <a:pt x="145" y="251"/>
                  <a:pt x="145" y="251"/>
                </a:cubicBezTo>
                <a:cubicBezTo>
                  <a:pt x="225" y="198"/>
                  <a:pt x="225" y="198"/>
                  <a:pt x="225" y="198"/>
                </a:cubicBezTo>
                <a:cubicBezTo>
                  <a:pt x="264" y="92"/>
                  <a:pt x="264" y="92"/>
                  <a:pt x="264" y="92"/>
                </a:cubicBezTo>
                <a:lnTo>
                  <a:pt x="259" y="72"/>
                </a:lnTo>
                <a:close/>
              </a:path>
            </a:pathLst>
          </a:custGeom>
          <a:solidFill>
            <a:schemeClr val="accent3"/>
          </a:solidFill>
          <a:ln>
            <a:noFill/>
          </a:ln>
          <a:extLst/>
        </p:spPr>
        <p:txBody>
          <a:bodyPr vert="horz" wrap="square" lIns="82040" tIns="41020" rIns="82040" bIns="41020" numCol="1" anchor="t" anchorCtr="0" compatLnSpc="1">
            <a:prstTxWarp prst="textNoShape">
              <a:avLst/>
            </a:prstTxWarp>
          </a:bodyPr>
          <a:lstStyle/>
          <a:p>
            <a:endParaRPr lang="es-ES_tradnl" dirty="0"/>
          </a:p>
        </p:txBody>
      </p:sp>
      <p:pic>
        <p:nvPicPr>
          <p:cNvPr id="35" name="Picture 34"/>
          <p:cNvPicPr>
            <a:picLocks noChangeAspect="1"/>
          </p:cNvPicPr>
          <p:nvPr/>
        </p:nvPicPr>
        <p:blipFill>
          <a:blip r:embed="rId3"/>
          <a:stretch>
            <a:fillRect/>
          </a:stretch>
        </p:blipFill>
        <p:spPr>
          <a:xfrm>
            <a:off x="7372057" y="2168"/>
            <a:ext cx="2030144" cy="1304657"/>
          </a:xfrm>
          <a:prstGeom prst="rect">
            <a:avLst/>
          </a:prstGeom>
        </p:spPr>
      </p:pic>
      <p:sp>
        <p:nvSpPr>
          <p:cNvPr id="41" name="Rectangle 40"/>
          <p:cNvSpPr/>
          <p:nvPr/>
        </p:nvSpPr>
        <p:spPr>
          <a:xfrm>
            <a:off x="1501254" y="366704"/>
            <a:ext cx="6141492" cy="892552"/>
          </a:xfrm>
          <a:prstGeom prst="rect">
            <a:avLst/>
          </a:prstGeom>
        </p:spPr>
        <p:txBody>
          <a:bodyPr wrap="square">
            <a:spAutoFit/>
          </a:bodyPr>
          <a:lstStyle/>
          <a:p>
            <a:pPr algn="ctr">
              <a:spcBef>
                <a:spcPct val="0"/>
              </a:spcBef>
            </a:pPr>
            <a:r>
              <a:rPr lang="es-ES" sz="2000" b="1" dirty="0">
                <a:ea typeface="Open Sans" panose="020B0606030504020204" pitchFamily="34" charset="0"/>
                <a:cs typeface="Open Sans" panose="020B0606030504020204" pitchFamily="34" charset="0"/>
              </a:rPr>
              <a:t>Adaptar la publicidad y pauta comercial </a:t>
            </a:r>
            <a:r>
              <a:rPr lang="es-CO" sz="2000" b="1" dirty="0">
                <a:ea typeface="Open Sans" panose="020B0606030504020204" pitchFamily="34" charset="0"/>
                <a:cs typeface="Open Sans" panose="020B0606030504020204" pitchFamily="34" charset="0"/>
              </a:rPr>
              <a:t>a la orientación de la programación</a:t>
            </a:r>
            <a:endParaRPr lang="es-ES" sz="2000" b="1" dirty="0">
              <a:ea typeface="Open Sans" panose="020B0606030504020204" pitchFamily="34" charset="0"/>
              <a:cs typeface="Open Sans" panose="020B0606030504020204" pitchFamily="34" charset="0"/>
            </a:endParaRPr>
          </a:p>
          <a:p>
            <a:pPr algn="ctr">
              <a:spcBef>
                <a:spcPct val="0"/>
              </a:spcBef>
            </a:pPr>
            <a:r>
              <a:rPr lang="es-CO" sz="1200" b="1" dirty="0">
                <a:ea typeface="Open Sans" panose="020B0606030504020204" pitchFamily="34" charset="0"/>
                <a:cs typeface="Open Sans" panose="020B0606030504020204" pitchFamily="34" charset="0"/>
              </a:rPr>
              <a:t>Concesionarios de Interés Público</a:t>
            </a:r>
          </a:p>
        </p:txBody>
      </p:sp>
      <p:sp>
        <p:nvSpPr>
          <p:cNvPr id="43" name="Freeform 770"/>
          <p:cNvSpPr>
            <a:spLocks noEditPoints="1"/>
          </p:cNvSpPr>
          <p:nvPr/>
        </p:nvSpPr>
        <p:spPr bwMode="auto">
          <a:xfrm>
            <a:off x="8184136" y="365312"/>
            <a:ext cx="468000" cy="540000"/>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704475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1">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id="{982D0F11-9141-4E3B-9504-C5C93E554576}" vid="{3ECF81D9-1F6A-48F2-BB05-F1203CA73FD3}"/>
    </a:ext>
  </a:extLst>
</a:theme>
</file>

<file path=ppt/theme/theme2.xml><?xml version="1.0" encoding="utf-8"?>
<a:theme xmlns:a="http://schemas.openxmlformats.org/drawingml/2006/main" name="Theme1">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id="{982D0F11-9141-4E3B-9504-C5C93E554576}" vid="{3ECF81D9-1F6A-48F2-BB05-F1203CA73FD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9945</TotalTime>
  <Words>3592</Words>
  <Application>Microsoft Office PowerPoint</Application>
  <PresentationFormat>Presentación en pantalla (4:3)</PresentationFormat>
  <Paragraphs>709</Paragraphs>
  <Slides>16</Slides>
  <Notes>1</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16</vt:i4>
      </vt:variant>
    </vt:vector>
  </HeadingPairs>
  <TitlesOfParts>
    <vt:vector size="26" baseType="lpstr">
      <vt:lpstr>ＭＳ Ｐゴシック</vt:lpstr>
      <vt:lpstr>Arial</vt:lpstr>
      <vt:lpstr>Calibri</vt:lpstr>
      <vt:lpstr>Open Sans</vt:lpstr>
      <vt:lpstr>Verdana</vt:lpstr>
      <vt:lpstr>Wingdings</vt:lpstr>
      <vt:lpstr>Wingdings 2</vt:lpstr>
      <vt:lpstr>1_Theme1</vt:lpstr>
      <vt:lpstr>Theme1</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avides, Camilo (LATCO - Bogota)</dc:creator>
  <cp:lastModifiedBy>Mario Alcides Lozano Reyes</cp:lastModifiedBy>
  <cp:revision>345</cp:revision>
  <dcterms:created xsi:type="dcterms:W3CDTF">2016-11-15T15:13:30Z</dcterms:created>
  <dcterms:modified xsi:type="dcterms:W3CDTF">2017-03-28T20:13:53Z</dcterms:modified>
</cp:coreProperties>
</file>